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63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6.xml" ContentType="application/vnd.openxmlformats-officedocument.drawingml.chart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charts/chart17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8.xml" ContentType="application/vnd.openxmlformats-officedocument.drawingml.chart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charts/chart19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charts/chart20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79" r:id="rId1"/>
    <p:sldMasterId id="2147483696" r:id="rId2"/>
    <p:sldMasterId id="2147483705" r:id="rId3"/>
    <p:sldMasterId id="2147483740" r:id="rId4"/>
    <p:sldMasterId id="2147483750" r:id="rId5"/>
    <p:sldMasterId id="2147483759" r:id="rId6"/>
    <p:sldMasterId id="2147483776" r:id="rId7"/>
    <p:sldMasterId id="2147483786" r:id="rId8"/>
  </p:sldMasterIdLst>
  <p:notesMasterIdLst>
    <p:notesMasterId r:id="rId43"/>
  </p:notesMasterIdLst>
  <p:sldIdLst>
    <p:sldId id="1751" r:id="rId9"/>
    <p:sldId id="1712" r:id="rId10"/>
    <p:sldId id="1717" r:id="rId11"/>
    <p:sldId id="1768" r:id="rId12"/>
    <p:sldId id="1714" r:id="rId13"/>
    <p:sldId id="1787" r:id="rId14"/>
    <p:sldId id="1788" r:id="rId15"/>
    <p:sldId id="1753" r:id="rId16"/>
    <p:sldId id="1797" r:id="rId17"/>
    <p:sldId id="1760" r:id="rId18"/>
    <p:sldId id="1764" r:id="rId19"/>
    <p:sldId id="1765" r:id="rId20"/>
    <p:sldId id="1769" r:id="rId21"/>
    <p:sldId id="1727" r:id="rId22"/>
    <p:sldId id="1789" r:id="rId23"/>
    <p:sldId id="1790" r:id="rId24"/>
    <p:sldId id="1792" r:id="rId25"/>
    <p:sldId id="1793" r:id="rId26"/>
    <p:sldId id="1794" r:id="rId27"/>
    <p:sldId id="1795" r:id="rId28"/>
    <p:sldId id="1796" r:id="rId29"/>
    <p:sldId id="1733" r:id="rId30"/>
    <p:sldId id="1734" r:id="rId31"/>
    <p:sldId id="1730" r:id="rId32"/>
    <p:sldId id="1732" r:id="rId33"/>
    <p:sldId id="1722" r:id="rId34"/>
    <p:sldId id="1783" r:id="rId35"/>
    <p:sldId id="1725" r:id="rId36"/>
    <p:sldId id="1784" r:id="rId37"/>
    <p:sldId id="1785" r:id="rId38"/>
    <p:sldId id="1798" r:id="rId39"/>
    <p:sldId id="1799" r:id="rId40"/>
    <p:sldId id="1800" r:id="rId41"/>
    <p:sldId id="1776" r:id="rId42"/>
  </p:sldIdLst>
  <p:sldSz cx="12192000" cy="6858000"/>
  <p:notesSz cx="6858000" cy="9144000"/>
  <p:embeddedFontLst>
    <p:embeddedFont>
      <p:font typeface="Calibri Light" panose="020F0302020204030204" pitchFamily="34" charset="0"/>
      <p:regular r:id="rId44"/>
      <p:italic r:id="rId45"/>
    </p:embeddedFont>
    <p:embeddedFont>
      <p:font typeface="Calibri" panose="020F0502020204030204" pitchFamily="34" charset="0"/>
      <p:regular r:id="rId46"/>
      <p:bold r:id="rId47"/>
      <p:italic r:id="rId48"/>
      <p:boldItalic r:id="rId49"/>
    </p:embeddedFont>
  </p:embeddedFontLst>
  <p:custDataLst>
    <p:tags r:id="rId50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D0CCCE"/>
    <a:srgbClr val="595353"/>
    <a:srgbClr val="C00000"/>
    <a:srgbClr val="0000FF"/>
    <a:srgbClr val="305983"/>
    <a:srgbClr val="9E0D34"/>
    <a:srgbClr val="FF33CC"/>
    <a:srgbClr val="B0C2E5"/>
    <a:srgbClr val="7191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260" autoAdjust="0"/>
    <p:restoredTop sz="96327" autoAdjust="0"/>
  </p:normalViewPr>
  <p:slideViewPr>
    <p:cSldViewPr snapToGrid="0">
      <p:cViewPr varScale="1">
        <p:scale>
          <a:sx n="111" d="100"/>
          <a:sy n="111" d="100"/>
        </p:scale>
        <p:origin x="840" y="120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font" Target="fonts/font4.fntdata"/><Relationship Id="rId50" Type="http://schemas.openxmlformats.org/officeDocument/2006/relationships/tags" Target="tags/tag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font" Target="fonts/font3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font" Target="fonts/font2.fntdata"/><Relationship Id="rId53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font" Target="fonts/font6.fntdata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font" Target="fonts/font1.fntdata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notesMaster" Target="notesMasters/notesMaster1.xml"/><Relationship Id="rId48" Type="http://schemas.openxmlformats.org/officeDocument/2006/relationships/font" Target="fonts/font5.fntdata"/><Relationship Id="rId8" Type="http://schemas.openxmlformats.org/officeDocument/2006/relationships/slideMaster" Target="slideMasters/slideMaster8.xml"/><Relationship Id="rId5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15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17.xlsx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8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9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62:$A$179</c:f>
              <c:numCache>
                <c:formatCode>m/d/yyyy</c:formatCode>
                <c:ptCount val="118"/>
                <c:pt idx="0">
                  <c:v>44196</c:v>
                </c:pt>
                <c:pt idx="1">
                  <c:v>44197</c:v>
                </c:pt>
                <c:pt idx="2">
                  <c:v>44198</c:v>
                </c:pt>
                <c:pt idx="3">
                  <c:v>44199</c:v>
                </c:pt>
                <c:pt idx="4">
                  <c:v>44200</c:v>
                </c:pt>
                <c:pt idx="5">
                  <c:v>44201</c:v>
                </c:pt>
                <c:pt idx="6">
                  <c:v>44202</c:v>
                </c:pt>
                <c:pt idx="7">
                  <c:v>44203</c:v>
                </c:pt>
                <c:pt idx="8">
                  <c:v>44204</c:v>
                </c:pt>
                <c:pt idx="9">
                  <c:v>44205</c:v>
                </c:pt>
                <c:pt idx="10">
                  <c:v>44206</c:v>
                </c:pt>
                <c:pt idx="11">
                  <c:v>44207</c:v>
                </c:pt>
                <c:pt idx="12">
                  <c:v>44208</c:v>
                </c:pt>
                <c:pt idx="13">
                  <c:v>44209</c:v>
                </c:pt>
                <c:pt idx="14">
                  <c:v>44210</c:v>
                </c:pt>
                <c:pt idx="15">
                  <c:v>44211</c:v>
                </c:pt>
                <c:pt idx="16">
                  <c:v>44212</c:v>
                </c:pt>
                <c:pt idx="17">
                  <c:v>44213</c:v>
                </c:pt>
                <c:pt idx="18">
                  <c:v>44214</c:v>
                </c:pt>
                <c:pt idx="19">
                  <c:v>44215</c:v>
                </c:pt>
                <c:pt idx="20">
                  <c:v>44216</c:v>
                </c:pt>
                <c:pt idx="21">
                  <c:v>44217</c:v>
                </c:pt>
                <c:pt idx="22">
                  <c:v>44218</c:v>
                </c:pt>
                <c:pt idx="23">
                  <c:v>44219</c:v>
                </c:pt>
                <c:pt idx="24">
                  <c:v>44220</c:v>
                </c:pt>
                <c:pt idx="25">
                  <c:v>44221</c:v>
                </c:pt>
                <c:pt idx="26">
                  <c:v>44222</c:v>
                </c:pt>
                <c:pt idx="27">
                  <c:v>44223</c:v>
                </c:pt>
                <c:pt idx="28">
                  <c:v>44224</c:v>
                </c:pt>
                <c:pt idx="29">
                  <c:v>44225</c:v>
                </c:pt>
                <c:pt idx="30">
                  <c:v>44226</c:v>
                </c:pt>
                <c:pt idx="31">
                  <c:v>44227</c:v>
                </c:pt>
                <c:pt idx="32">
                  <c:v>44228</c:v>
                </c:pt>
                <c:pt idx="33">
                  <c:v>44229</c:v>
                </c:pt>
                <c:pt idx="34">
                  <c:v>44230</c:v>
                </c:pt>
                <c:pt idx="35">
                  <c:v>44231</c:v>
                </c:pt>
                <c:pt idx="36">
                  <c:v>44232</c:v>
                </c:pt>
                <c:pt idx="37">
                  <c:v>44233</c:v>
                </c:pt>
                <c:pt idx="38">
                  <c:v>44234</c:v>
                </c:pt>
                <c:pt idx="39">
                  <c:v>44235</c:v>
                </c:pt>
                <c:pt idx="40">
                  <c:v>44236</c:v>
                </c:pt>
                <c:pt idx="41">
                  <c:v>44237</c:v>
                </c:pt>
                <c:pt idx="42">
                  <c:v>44238</c:v>
                </c:pt>
                <c:pt idx="43">
                  <c:v>44239</c:v>
                </c:pt>
                <c:pt idx="44">
                  <c:v>44240</c:v>
                </c:pt>
                <c:pt idx="45">
                  <c:v>44241</c:v>
                </c:pt>
                <c:pt idx="46">
                  <c:v>44242</c:v>
                </c:pt>
                <c:pt idx="47">
                  <c:v>44243</c:v>
                </c:pt>
                <c:pt idx="48">
                  <c:v>44244</c:v>
                </c:pt>
                <c:pt idx="49">
                  <c:v>44245</c:v>
                </c:pt>
                <c:pt idx="50">
                  <c:v>44246</c:v>
                </c:pt>
                <c:pt idx="51">
                  <c:v>44247</c:v>
                </c:pt>
                <c:pt idx="52">
                  <c:v>44248</c:v>
                </c:pt>
                <c:pt idx="53">
                  <c:v>44249</c:v>
                </c:pt>
                <c:pt idx="54">
                  <c:v>44250</c:v>
                </c:pt>
                <c:pt idx="55">
                  <c:v>44251</c:v>
                </c:pt>
                <c:pt idx="56">
                  <c:v>44252</c:v>
                </c:pt>
                <c:pt idx="57">
                  <c:v>44253</c:v>
                </c:pt>
                <c:pt idx="58">
                  <c:v>44254</c:v>
                </c:pt>
                <c:pt idx="59">
                  <c:v>44255</c:v>
                </c:pt>
                <c:pt idx="60">
                  <c:v>44256</c:v>
                </c:pt>
                <c:pt idx="61">
                  <c:v>44257</c:v>
                </c:pt>
                <c:pt idx="62">
                  <c:v>44258</c:v>
                </c:pt>
                <c:pt idx="63">
                  <c:v>44259</c:v>
                </c:pt>
                <c:pt idx="64">
                  <c:v>44260</c:v>
                </c:pt>
                <c:pt idx="65">
                  <c:v>44261</c:v>
                </c:pt>
                <c:pt idx="66">
                  <c:v>44262</c:v>
                </c:pt>
                <c:pt idx="67">
                  <c:v>44263</c:v>
                </c:pt>
                <c:pt idx="68">
                  <c:v>44264</c:v>
                </c:pt>
                <c:pt idx="69">
                  <c:v>44265</c:v>
                </c:pt>
                <c:pt idx="70">
                  <c:v>44266</c:v>
                </c:pt>
                <c:pt idx="71">
                  <c:v>44267</c:v>
                </c:pt>
                <c:pt idx="72">
                  <c:v>44268</c:v>
                </c:pt>
                <c:pt idx="73">
                  <c:v>44269</c:v>
                </c:pt>
                <c:pt idx="74">
                  <c:v>44270</c:v>
                </c:pt>
                <c:pt idx="75">
                  <c:v>44271</c:v>
                </c:pt>
                <c:pt idx="76">
                  <c:v>44272</c:v>
                </c:pt>
                <c:pt idx="77">
                  <c:v>44273</c:v>
                </c:pt>
                <c:pt idx="78">
                  <c:v>44274</c:v>
                </c:pt>
                <c:pt idx="79">
                  <c:v>44275</c:v>
                </c:pt>
                <c:pt idx="80">
                  <c:v>44276</c:v>
                </c:pt>
                <c:pt idx="81">
                  <c:v>44277</c:v>
                </c:pt>
                <c:pt idx="82">
                  <c:v>44278</c:v>
                </c:pt>
                <c:pt idx="83">
                  <c:v>44279</c:v>
                </c:pt>
                <c:pt idx="84">
                  <c:v>44280</c:v>
                </c:pt>
                <c:pt idx="85">
                  <c:v>44281</c:v>
                </c:pt>
                <c:pt idx="86">
                  <c:v>44282</c:v>
                </c:pt>
                <c:pt idx="87">
                  <c:v>44283</c:v>
                </c:pt>
                <c:pt idx="88">
                  <c:v>44284</c:v>
                </c:pt>
                <c:pt idx="89">
                  <c:v>44285</c:v>
                </c:pt>
                <c:pt idx="90">
                  <c:v>44286</c:v>
                </c:pt>
                <c:pt idx="91">
                  <c:v>44287</c:v>
                </c:pt>
                <c:pt idx="92">
                  <c:v>44288</c:v>
                </c:pt>
                <c:pt idx="93">
                  <c:v>44289</c:v>
                </c:pt>
                <c:pt idx="94">
                  <c:v>44290</c:v>
                </c:pt>
                <c:pt idx="95">
                  <c:v>44291</c:v>
                </c:pt>
                <c:pt idx="96">
                  <c:v>44292</c:v>
                </c:pt>
                <c:pt idx="97">
                  <c:v>44293</c:v>
                </c:pt>
                <c:pt idx="98">
                  <c:v>44294</c:v>
                </c:pt>
                <c:pt idx="99">
                  <c:v>44295</c:v>
                </c:pt>
                <c:pt idx="100">
                  <c:v>44296</c:v>
                </c:pt>
                <c:pt idx="101">
                  <c:v>44297</c:v>
                </c:pt>
                <c:pt idx="102">
                  <c:v>44298</c:v>
                </c:pt>
                <c:pt idx="103">
                  <c:v>44299</c:v>
                </c:pt>
                <c:pt idx="104">
                  <c:v>44300</c:v>
                </c:pt>
                <c:pt idx="105">
                  <c:v>44301</c:v>
                </c:pt>
                <c:pt idx="106">
                  <c:v>44302</c:v>
                </c:pt>
                <c:pt idx="107">
                  <c:v>44303</c:v>
                </c:pt>
                <c:pt idx="108">
                  <c:v>44304</c:v>
                </c:pt>
                <c:pt idx="109">
                  <c:v>44305</c:v>
                </c:pt>
                <c:pt idx="110">
                  <c:v>44306</c:v>
                </c:pt>
                <c:pt idx="111">
                  <c:v>44307</c:v>
                </c:pt>
                <c:pt idx="112">
                  <c:v>44308</c:v>
                </c:pt>
                <c:pt idx="113">
                  <c:v>44309</c:v>
                </c:pt>
                <c:pt idx="114">
                  <c:v>44310</c:v>
                </c:pt>
                <c:pt idx="115">
                  <c:v>44311</c:v>
                </c:pt>
                <c:pt idx="116">
                  <c:v>44312</c:v>
                </c:pt>
                <c:pt idx="117">
                  <c:v>44313</c:v>
                </c:pt>
              </c:numCache>
            </c:numRef>
          </c:cat>
          <c:val>
            <c:numRef>
              <c:f>Sheet1!$B$62:$B$179</c:f>
              <c:numCache>
                <c:formatCode>General</c:formatCode>
                <c:ptCount val="118"/>
                <c:pt idx="0">
                  <c:v>13307</c:v>
                </c:pt>
                <c:pt idx="1">
                  <c:v>3446</c:v>
                </c:pt>
                <c:pt idx="2">
                  <c:v>4984</c:v>
                </c:pt>
                <c:pt idx="3">
                  <c:v>6268</c:v>
                </c:pt>
                <c:pt idx="4">
                  <c:v>12956</c:v>
                </c:pt>
                <c:pt idx="5">
                  <c:v>17401</c:v>
                </c:pt>
                <c:pt idx="6">
                  <c:v>17771</c:v>
                </c:pt>
                <c:pt idx="7">
                  <c:v>14882</c:v>
                </c:pt>
                <c:pt idx="8">
                  <c:v>13099</c:v>
                </c:pt>
                <c:pt idx="9">
                  <c:v>8438</c:v>
                </c:pt>
                <c:pt idx="10">
                  <c:v>4313</c:v>
                </c:pt>
                <c:pt idx="11">
                  <c:v>9386</c:v>
                </c:pt>
                <c:pt idx="12">
                  <c:v>10811</c:v>
                </c:pt>
                <c:pt idx="13">
                  <c:v>10920</c:v>
                </c:pt>
                <c:pt idx="14">
                  <c:v>8087</c:v>
                </c:pt>
                <c:pt idx="15">
                  <c:v>9301</c:v>
                </c:pt>
                <c:pt idx="16">
                  <c:v>5242</c:v>
                </c:pt>
                <c:pt idx="17">
                  <c:v>2641</c:v>
                </c:pt>
                <c:pt idx="18">
                  <c:v>7668</c:v>
                </c:pt>
                <c:pt idx="19">
                  <c:v>9610</c:v>
                </c:pt>
                <c:pt idx="20">
                  <c:v>8215</c:v>
                </c:pt>
                <c:pt idx="21">
                  <c:v>7533</c:v>
                </c:pt>
                <c:pt idx="22">
                  <c:v>8468</c:v>
                </c:pt>
                <c:pt idx="23">
                  <c:v>4239</c:v>
                </c:pt>
                <c:pt idx="24">
                  <c:v>2394</c:v>
                </c:pt>
                <c:pt idx="25">
                  <c:v>6974</c:v>
                </c:pt>
                <c:pt idx="26">
                  <c:v>9195</c:v>
                </c:pt>
                <c:pt idx="27">
                  <c:v>8504</c:v>
                </c:pt>
                <c:pt idx="28">
                  <c:v>8010</c:v>
                </c:pt>
                <c:pt idx="29">
                  <c:v>8053</c:v>
                </c:pt>
                <c:pt idx="30">
                  <c:v>4055</c:v>
                </c:pt>
                <c:pt idx="31">
                  <c:v>2573</c:v>
                </c:pt>
                <c:pt idx="32">
                  <c:v>7217</c:v>
                </c:pt>
                <c:pt idx="33">
                  <c:v>9148</c:v>
                </c:pt>
                <c:pt idx="34">
                  <c:v>9667</c:v>
                </c:pt>
                <c:pt idx="35">
                  <c:v>8107</c:v>
                </c:pt>
                <c:pt idx="36">
                  <c:v>8622</c:v>
                </c:pt>
                <c:pt idx="37">
                  <c:v>4820</c:v>
                </c:pt>
                <c:pt idx="38">
                  <c:v>2451</c:v>
                </c:pt>
                <c:pt idx="39">
                  <c:v>7777</c:v>
                </c:pt>
                <c:pt idx="40">
                  <c:v>10283</c:v>
                </c:pt>
                <c:pt idx="41">
                  <c:v>9538</c:v>
                </c:pt>
                <c:pt idx="42">
                  <c:v>9018</c:v>
                </c:pt>
                <c:pt idx="43">
                  <c:v>8830</c:v>
                </c:pt>
                <c:pt idx="44">
                  <c:v>5141</c:v>
                </c:pt>
                <c:pt idx="45">
                  <c:v>2880</c:v>
                </c:pt>
                <c:pt idx="46">
                  <c:v>8905</c:v>
                </c:pt>
                <c:pt idx="47">
                  <c:v>12608</c:v>
                </c:pt>
                <c:pt idx="48">
                  <c:v>10939</c:v>
                </c:pt>
                <c:pt idx="49">
                  <c:v>11704</c:v>
                </c:pt>
                <c:pt idx="50">
                  <c:v>11288</c:v>
                </c:pt>
                <c:pt idx="51">
                  <c:v>6775</c:v>
                </c:pt>
                <c:pt idx="52">
                  <c:v>4068</c:v>
                </c:pt>
                <c:pt idx="53">
                  <c:v>11408</c:v>
                </c:pt>
                <c:pt idx="54">
                  <c:v>15840</c:v>
                </c:pt>
                <c:pt idx="55">
                  <c:v>13796</c:v>
                </c:pt>
                <c:pt idx="56">
                  <c:v>14588</c:v>
                </c:pt>
                <c:pt idx="57">
                  <c:v>14776</c:v>
                </c:pt>
                <c:pt idx="58">
                  <c:v>7824</c:v>
                </c:pt>
                <c:pt idx="59">
                  <c:v>4587</c:v>
                </c:pt>
                <c:pt idx="60">
                  <c:v>12325</c:v>
                </c:pt>
                <c:pt idx="61">
                  <c:v>16777</c:v>
                </c:pt>
                <c:pt idx="62">
                  <c:v>15237</c:v>
                </c:pt>
                <c:pt idx="63">
                  <c:v>14648</c:v>
                </c:pt>
                <c:pt idx="64">
                  <c:v>13169</c:v>
                </c:pt>
                <c:pt idx="65">
                  <c:v>9130</c:v>
                </c:pt>
                <c:pt idx="66">
                  <c:v>3982</c:v>
                </c:pt>
                <c:pt idx="67">
                  <c:v>10653</c:v>
                </c:pt>
                <c:pt idx="68">
                  <c:v>15358</c:v>
                </c:pt>
                <c:pt idx="69">
                  <c:v>14535</c:v>
                </c:pt>
                <c:pt idx="70">
                  <c:v>11245</c:v>
                </c:pt>
                <c:pt idx="71">
                  <c:v>14960</c:v>
                </c:pt>
                <c:pt idx="72">
                  <c:v>6956</c:v>
                </c:pt>
                <c:pt idx="73">
                  <c:v>3332</c:v>
                </c:pt>
                <c:pt idx="74">
                  <c:v>10629</c:v>
                </c:pt>
                <c:pt idx="75">
                  <c:v>14028</c:v>
                </c:pt>
                <c:pt idx="76">
                  <c:v>12027</c:v>
                </c:pt>
                <c:pt idx="77">
                  <c:v>10660</c:v>
                </c:pt>
                <c:pt idx="78">
                  <c:v>9710</c:v>
                </c:pt>
                <c:pt idx="79">
                  <c:v>5466</c:v>
                </c:pt>
                <c:pt idx="80">
                  <c:v>2390</c:v>
                </c:pt>
                <c:pt idx="81">
                  <c:v>8240</c:v>
                </c:pt>
                <c:pt idx="82">
                  <c:v>10968</c:v>
                </c:pt>
                <c:pt idx="83">
                  <c:v>8847</c:v>
                </c:pt>
                <c:pt idx="84">
                  <c:v>7925</c:v>
                </c:pt>
                <c:pt idx="85">
                  <c:v>7710</c:v>
                </c:pt>
                <c:pt idx="86">
                  <c:v>3969</c:v>
                </c:pt>
                <c:pt idx="87">
                  <c:v>1743</c:v>
                </c:pt>
                <c:pt idx="88">
                  <c:v>6935</c:v>
                </c:pt>
                <c:pt idx="89">
                  <c:v>8630</c:v>
                </c:pt>
                <c:pt idx="90">
                  <c:v>7262</c:v>
                </c:pt>
                <c:pt idx="91">
                  <c:v>6244</c:v>
                </c:pt>
                <c:pt idx="92">
                  <c:v>3837</c:v>
                </c:pt>
                <c:pt idx="93">
                  <c:v>2160</c:v>
                </c:pt>
                <c:pt idx="94">
                  <c:v>1925</c:v>
                </c:pt>
                <c:pt idx="95">
                  <c:v>1419</c:v>
                </c:pt>
                <c:pt idx="96">
                  <c:v>5580</c:v>
                </c:pt>
                <c:pt idx="97">
                  <c:v>7051</c:v>
                </c:pt>
                <c:pt idx="98">
                  <c:v>5282</c:v>
                </c:pt>
                <c:pt idx="99">
                  <c:v>4819</c:v>
                </c:pt>
                <c:pt idx="100">
                  <c:v>2204</c:v>
                </c:pt>
                <c:pt idx="101">
                  <c:v>986</c:v>
                </c:pt>
                <c:pt idx="102">
                  <c:v>3868</c:v>
                </c:pt>
                <c:pt idx="103">
                  <c:v>5056</c:v>
                </c:pt>
                <c:pt idx="104">
                  <c:v>3715</c:v>
                </c:pt>
                <c:pt idx="105">
                  <c:v>3264</c:v>
                </c:pt>
                <c:pt idx="106">
                  <c:v>3215</c:v>
                </c:pt>
                <c:pt idx="107">
                  <c:v>1541</c:v>
                </c:pt>
                <c:pt idx="108">
                  <c:v>833</c:v>
                </c:pt>
                <c:pt idx="109">
                  <c:v>3337</c:v>
                </c:pt>
                <c:pt idx="110">
                  <c:v>3816</c:v>
                </c:pt>
                <c:pt idx="111">
                  <c:v>2950</c:v>
                </c:pt>
                <c:pt idx="112">
                  <c:v>2627</c:v>
                </c:pt>
                <c:pt idx="113">
                  <c:v>2596</c:v>
                </c:pt>
                <c:pt idx="114">
                  <c:v>1304</c:v>
                </c:pt>
                <c:pt idx="115">
                  <c:v>823</c:v>
                </c:pt>
                <c:pt idx="116">
                  <c:v>2560</c:v>
                </c:pt>
                <c:pt idx="117">
                  <c:v>32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9B-4FBB-A2AC-E8BB2DFAE1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8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Beroun</c:v>
                </c:pt>
                <c:pt idx="1">
                  <c:v>Vyškov</c:v>
                </c:pt>
                <c:pt idx="2">
                  <c:v>České Budějovice</c:v>
                </c:pt>
                <c:pt idx="3">
                  <c:v>Znojmo</c:v>
                </c:pt>
                <c:pt idx="4">
                  <c:v>Tábor</c:v>
                </c:pt>
                <c:pt idx="5">
                  <c:v>Zlín</c:v>
                </c:pt>
                <c:pt idx="6">
                  <c:v>Přerov</c:v>
                </c:pt>
                <c:pt idx="7">
                  <c:v>Teplice</c:v>
                </c:pt>
                <c:pt idx="8">
                  <c:v>Vsetín</c:v>
                </c:pt>
                <c:pt idx="9">
                  <c:v>Písek</c:v>
                </c:pt>
                <c:pt idx="10">
                  <c:v>Blansko</c:v>
                </c:pt>
                <c:pt idx="11">
                  <c:v>Prachatice</c:v>
                </c:pt>
                <c:pt idx="12">
                  <c:v>Jihlava</c:v>
                </c:pt>
                <c:pt idx="13">
                  <c:v>Žďár nad Sázavou</c:v>
                </c:pt>
                <c:pt idx="14">
                  <c:v>Ostrava-město</c:v>
                </c:pt>
                <c:pt idx="15">
                  <c:v>Česká Lípa</c:v>
                </c:pt>
                <c:pt idx="16">
                  <c:v>Děčín</c:v>
                </c:pt>
                <c:pt idx="17">
                  <c:v>Ústí nad Labem</c:v>
                </c:pt>
                <c:pt idx="18">
                  <c:v>Most</c:v>
                </c:pt>
                <c:pt idx="19">
                  <c:v>Uherské Hradiště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1</c:v>
                </c:pt>
                <c:pt idx="1">
                  <c:v>0.99489795918299995</c:v>
                </c:pt>
                <c:pt idx="2">
                  <c:v>0.98353909465</c:v>
                </c:pt>
                <c:pt idx="3">
                  <c:v>0.98347107438000003</c:v>
                </c:pt>
                <c:pt idx="4">
                  <c:v>0.982758620689</c:v>
                </c:pt>
                <c:pt idx="5">
                  <c:v>0.98103448275799998</c:v>
                </c:pt>
                <c:pt idx="6">
                  <c:v>0.96491228070099999</c:v>
                </c:pt>
                <c:pt idx="7">
                  <c:v>0.95209580838300001</c:v>
                </c:pt>
                <c:pt idx="8">
                  <c:v>0.94588744588700002</c:v>
                </c:pt>
                <c:pt idx="9">
                  <c:v>0.94152046783599996</c:v>
                </c:pt>
                <c:pt idx="10">
                  <c:v>0.92647058823499995</c:v>
                </c:pt>
                <c:pt idx="11">
                  <c:v>0.91304347825999999</c:v>
                </c:pt>
                <c:pt idx="12">
                  <c:v>0.90322580645100004</c:v>
                </c:pt>
                <c:pt idx="13">
                  <c:v>0.901818181818</c:v>
                </c:pt>
                <c:pt idx="14">
                  <c:v>0.90174966352599994</c:v>
                </c:pt>
                <c:pt idx="15">
                  <c:v>0.853754940711</c:v>
                </c:pt>
                <c:pt idx="16">
                  <c:v>0.82582582582499997</c:v>
                </c:pt>
                <c:pt idx="17">
                  <c:v>0.79047619047600004</c:v>
                </c:pt>
                <c:pt idx="18">
                  <c:v>0.77854671280200005</c:v>
                </c:pt>
                <c:pt idx="19">
                  <c:v>0.735368956742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l_poz_epid_diag_7_dni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Přerov</c:v>
                </c:pt>
                <c:pt idx="1">
                  <c:v>Prachatice</c:v>
                </c:pt>
                <c:pt idx="2">
                  <c:v>České Budějovice</c:v>
                </c:pt>
                <c:pt idx="3">
                  <c:v>Beroun</c:v>
                </c:pt>
                <c:pt idx="4">
                  <c:v>Vsetín</c:v>
                </c:pt>
                <c:pt idx="5">
                  <c:v>Blansko</c:v>
                </c:pt>
                <c:pt idx="6">
                  <c:v>Tábor</c:v>
                </c:pt>
                <c:pt idx="7">
                  <c:v>Písek</c:v>
                </c:pt>
                <c:pt idx="8">
                  <c:v>Vyškov</c:v>
                </c:pt>
                <c:pt idx="9">
                  <c:v>Česká Lípa</c:v>
                </c:pt>
                <c:pt idx="10">
                  <c:v>Znojmo</c:v>
                </c:pt>
                <c:pt idx="11">
                  <c:v>Žďár nad Sázavou</c:v>
                </c:pt>
                <c:pt idx="12">
                  <c:v>Děčín</c:v>
                </c:pt>
                <c:pt idx="13">
                  <c:v>Ústí nad Labem</c:v>
                </c:pt>
                <c:pt idx="14">
                  <c:v>Teplice</c:v>
                </c:pt>
                <c:pt idx="15">
                  <c:v>Ostrava-město</c:v>
                </c:pt>
                <c:pt idx="16">
                  <c:v>Zlín</c:v>
                </c:pt>
                <c:pt idx="17">
                  <c:v>Most</c:v>
                </c:pt>
                <c:pt idx="18">
                  <c:v>Jihlava</c:v>
                </c:pt>
                <c:pt idx="19">
                  <c:v>Uherské Hradiště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0.248222748815</c:v>
                </c:pt>
                <c:pt idx="1">
                  <c:v>0.20244565217300001</c:v>
                </c:pt>
                <c:pt idx="2">
                  <c:v>0.183823529411</c:v>
                </c:pt>
                <c:pt idx="3">
                  <c:v>0.17441077441</c:v>
                </c:pt>
                <c:pt idx="4">
                  <c:v>0.16616915422799999</c:v>
                </c:pt>
                <c:pt idx="5">
                  <c:v>0.162853297442</c:v>
                </c:pt>
                <c:pt idx="6">
                  <c:v>0.155555555555</c:v>
                </c:pt>
                <c:pt idx="7">
                  <c:v>0.14573346116899999</c:v>
                </c:pt>
                <c:pt idx="8">
                  <c:v>0.14369310793199999</c:v>
                </c:pt>
                <c:pt idx="9">
                  <c:v>0.13377049180299999</c:v>
                </c:pt>
                <c:pt idx="10">
                  <c:v>0.13143483022999999</c:v>
                </c:pt>
                <c:pt idx="11">
                  <c:v>0.12800917080599999</c:v>
                </c:pt>
                <c:pt idx="12">
                  <c:v>0.122879758763</c:v>
                </c:pt>
                <c:pt idx="13">
                  <c:v>0.11461205198799999</c:v>
                </c:pt>
                <c:pt idx="14">
                  <c:v>0.107156673114</c:v>
                </c:pt>
                <c:pt idx="15">
                  <c:v>0.100920110997</c:v>
                </c:pt>
                <c:pt idx="16">
                  <c:v>9.6129441624E-2</c:v>
                </c:pt>
                <c:pt idx="17">
                  <c:v>9.3986862051E-2</c:v>
                </c:pt>
                <c:pt idx="18">
                  <c:v>9.2380576391000002E-2</c:v>
                </c:pt>
                <c:pt idx="19">
                  <c:v>8.1671415004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25-445E-AAFF-10FA879A62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7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Vsetín</c:v>
                </c:pt>
                <c:pt idx="1">
                  <c:v>Vyškov</c:v>
                </c:pt>
                <c:pt idx="2">
                  <c:v>Tábor</c:v>
                </c:pt>
                <c:pt idx="3">
                  <c:v>Děčín</c:v>
                </c:pt>
                <c:pt idx="4">
                  <c:v>Ústí nad Labem</c:v>
                </c:pt>
                <c:pt idx="5">
                  <c:v>Znojmo</c:v>
                </c:pt>
                <c:pt idx="6">
                  <c:v>Uherské Hradiště</c:v>
                </c:pt>
                <c:pt idx="7">
                  <c:v>Česká Lípa</c:v>
                </c:pt>
                <c:pt idx="8">
                  <c:v>České Budějovice</c:v>
                </c:pt>
                <c:pt idx="9">
                  <c:v>Zlín</c:v>
                </c:pt>
                <c:pt idx="10">
                  <c:v>Teplice</c:v>
                </c:pt>
                <c:pt idx="11">
                  <c:v>Přerov</c:v>
                </c:pt>
                <c:pt idx="12">
                  <c:v>Beroun</c:v>
                </c:pt>
                <c:pt idx="13">
                  <c:v>Most</c:v>
                </c:pt>
                <c:pt idx="14">
                  <c:v>Prachatice</c:v>
                </c:pt>
                <c:pt idx="15">
                  <c:v>Ostrava-město</c:v>
                </c:pt>
                <c:pt idx="16">
                  <c:v>Blansko</c:v>
                </c:pt>
                <c:pt idx="17">
                  <c:v>Jihlava</c:v>
                </c:pt>
                <c:pt idx="18">
                  <c:v>Žďár nad Sázavou</c:v>
                </c:pt>
                <c:pt idx="19">
                  <c:v>Písek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1.9196785033999991E-2</c:v>
                </c:pt>
                <c:pt idx="1">
                  <c:v>1.8617942568999984E-2</c:v>
                </c:pt>
                <c:pt idx="2">
                  <c:v>1.4761331729000016E-2</c:v>
                </c:pt>
                <c:pt idx="3">
                  <c:v>1.3454605568000003E-2</c:v>
                </c:pt>
                <c:pt idx="4">
                  <c:v>6.746137616999992E-3</c:v>
                </c:pt>
                <c:pt idx="5">
                  <c:v>6.2470485579999846E-3</c:v>
                </c:pt>
                <c:pt idx="6">
                  <c:v>2.6176341720000051E-3</c:v>
                </c:pt>
                <c:pt idx="7">
                  <c:v>2.4191404519999793E-3</c:v>
                </c:pt>
                <c:pt idx="8">
                  <c:v>2.1407297090000055E-3</c:v>
                </c:pt>
                <c:pt idx="9">
                  <c:v>9.829485789999981E-4</c:v>
                </c:pt>
                <c:pt idx="10">
                  <c:v>2.4708218999999754E-4</c:v>
                </c:pt>
                <c:pt idx="11">
                  <c:v>-1.4997817059999863E-3</c:v>
                </c:pt>
                <c:pt idx="12">
                  <c:v>-3.4548382379999965E-3</c:v>
                </c:pt>
                <c:pt idx="13">
                  <c:v>-4.7087901219999978E-3</c:v>
                </c:pt>
                <c:pt idx="14">
                  <c:v>-6.0536838159999939E-3</c:v>
                </c:pt>
                <c:pt idx="15">
                  <c:v>-8.6175816310000014E-3</c:v>
                </c:pt>
                <c:pt idx="16">
                  <c:v>-2.1993559086000009E-2</c:v>
                </c:pt>
                <c:pt idx="17">
                  <c:v>-2.5223779325000001E-2</c:v>
                </c:pt>
                <c:pt idx="18">
                  <c:v>-4.5126165002000007E-2</c:v>
                </c:pt>
                <c:pt idx="19">
                  <c:v>-4.994805030100002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88-414C-96F0-5C31EB4C16B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Vsetín</c:v>
                </c:pt>
                <c:pt idx="1">
                  <c:v>Vyškov</c:v>
                </c:pt>
                <c:pt idx="2">
                  <c:v>Tábor</c:v>
                </c:pt>
                <c:pt idx="3">
                  <c:v>Děčín</c:v>
                </c:pt>
                <c:pt idx="4">
                  <c:v>Ústí nad Labem</c:v>
                </c:pt>
                <c:pt idx="5">
                  <c:v>Znojmo</c:v>
                </c:pt>
                <c:pt idx="6">
                  <c:v>Uherské Hradiště</c:v>
                </c:pt>
                <c:pt idx="7">
                  <c:v>Česká Lípa</c:v>
                </c:pt>
                <c:pt idx="8">
                  <c:v>České Budějovice</c:v>
                </c:pt>
                <c:pt idx="9">
                  <c:v>Zlín</c:v>
                </c:pt>
                <c:pt idx="10">
                  <c:v>Teplice</c:v>
                </c:pt>
                <c:pt idx="11">
                  <c:v>Přerov</c:v>
                </c:pt>
                <c:pt idx="12">
                  <c:v>Beroun</c:v>
                </c:pt>
                <c:pt idx="13">
                  <c:v>Most</c:v>
                </c:pt>
                <c:pt idx="14">
                  <c:v>Prachatice</c:v>
                </c:pt>
                <c:pt idx="15">
                  <c:v>Ostrava-město</c:v>
                </c:pt>
                <c:pt idx="16">
                  <c:v>Blansko</c:v>
                </c:pt>
                <c:pt idx="17">
                  <c:v>Jihlava</c:v>
                </c:pt>
                <c:pt idx="18">
                  <c:v>Žďár nad Sázavou</c:v>
                </c:pt>
                <c:pt idx="19">
                  <c:v>Písek</c:v>
                </c:pt>
              </c:strCache>
            </c:strRef>
          </c:cat>
          <c:val>
            <c:numRef>
              <c:f>Sheet1!$C$2:$C$21</c:f>
              <c:numCache>
                <c:formatCode>General</c:formatCode>
                <c:ptCount val="2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11">
                  <c:v>-1.4997817059999863E-3</c:v>
                </c:pt>
                <c:pt idx="12">
                  <c:v>-3.4548382379999965E-3</c:v>
                </c:pt>
                <c:pt idx="13">
                  <c:v>-4.7087901219999978E-3</c:v>
                </c:pt>
                <c:pt idx="14">
                  <c:v>-6.0536838159999939E-3</c:v>
                </c:pt>
                <c:pt idx="15">
                  <c:v>-8.6175816310000014E-3</c:v>
                </c:pt>
                <c:pt idx="16">
                  <c:v>-2.1993559086000009E-2</c:v>
                </c:pt>
                <c:pt idx="17">
                  <c:v>-2.5223779325000001E-2</c:v>
                </c:pt>
                <c:pt idx="18">
                  <c:v>-4.5126165002000007E-2</c:v>
                </c:pt>
                <c:pt idx="19">
                  <c:v>-4.994805030100002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888-414C-96F0-5C31EB4C16B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Vsetín</c:v>
                </c:pt>
                <c:pt idx="1">
                  <c:v>Vyškov</c:v>
                </c:pt>
                <c:pt idx="2">
                  <c:v>Tábor</c:v>
                </c:pt>
                <c:pt idx="3">
                  <c:v>Děčín</c:v>
                </c:pt>
                <c:pt idx="4">
                  <c:v>Ústí nad Labem</c:v>
                </c:pt>
                <c:pt idx="5">
                  <c:v>Znojmo</c:v>
                </c:pt>
                <c:pt idx="6">
                  <c:v>Uherské Hradiště</c:v>
                </c:pt>
                <c:pt idx="7">
                  <c:v>Česká Lípa</c:v>
                </c:pt>
                <c:pt idx="8">
                  <c:v>České Budějovice</c:v>
                </c:pt>
                <c:pt idx="9">
                  <c:v>Zlín</c:v>
                </c:pt>
                <c:pt idx="10">
                  <c:v>Teplice</c:v>
                </c:pt>
                <c:pt idx="11">
                  <c:v>Přerov</c:v>
                </c:pt>
                <c:pt idx="12">
                  <c:v>Beroun</c:v>
                </c:pt>
                <c:pt idx="13">
                  <c:v>Most</c:v>
                </c:pt>
                <c:pt idx="14">
                  <c:v>Prachatice</c:v>
                </c:pt>
                <c:pt idx="15">
                  <c:v>Ostrava-město</c:v>
                </c:pt>
                <c:pt idx="16">
                  <c:v>Blansko</c:v>
                </c:pt>
                <c:pt idx="17">
                  <c:v>Jihlava</c:v>
                </c:pt>
                <c:pt idx="18">
                  <c:v>Žďár nad Sázavou</c:v>
                </c:pt>
                <c:pt idx="19">
                  <c:v>Písek</c:v>
                </c:pt>
              </c:strCache>
            </c:strRef>
          </c:cat>
          <c:val>
            <c:numRef>
              <c:f>Sheet1!$D$2:$D$21</c:f>
              <c:numCache>
                <c:formatCode>General</c:formatCode>
                <c:ptCount val="20"/>
                <c:pt idx="0">
                  <c:v>1.9196785033999991E-2</c:v>
                </c:pt>
                <c:pt idx="1">
                  <c:v>1.8617942568999984E-2</c:v>
                </c:pt>
                <c:pt idx="2">
                  <c:v>1.4761331729000016E-2</c:v>
                </c:pt>
                <c:pt idx="3">
                  <c:v>1.3454605568000003E-2</c:v>
                </c:pt>
                <c:pt idx="4">
                  <c:v>6.746137616999992E-3</c:v>
                </c:pt>
                <c:pt idx="5">
                  <c:v>6.2470485579999846E-3</c:v>
                </c:pt>
                <c:pt idx="6">
                  <c:v>2.6176341720000051E-3</c:v>
                </c:pt>
                <c:pt idx="7">
                  <c:v>2.4191404519999793E-3</c:v>
                </c:pt>
                <c:pt idx="8">
                  <c:v>2.1407297090000055E-3</c:v>
                </c:pt>
                <c:pt idx="9">
                  <c:v>9.829485789999981E-4</c:v>
                </c:pt>
                <c:pt idx="10">
                  <c:v>2.4708218999999754E-4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888-414C-96F0-5C31EB4C16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752350320"/>
        <c:axId val="742896224"/>
      </c:barChart>
      <c:catAx>
        <c:axId val="7523503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42896224"/>
        <c:crosses val="autoZero"/>
        <c:auto val="1"/>
        <c:lblAlgn val="ctr"/>
        <c:lblOffset val="100"/>
        <c:noMultiLvlLbl val="0"/>
      </c:catAx>
      <c:valAx>
        <c:axId val="742896224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52350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43</c:f>
              <c:numCache>
                <c:formatCode>m/d/yyyy</c:formatCode>
                <c:ptCount val="151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</c:numCache>
            </c:numRef>
          </c:cat>
          <c:val>
            <c:numRef>
              <c:f>Sheet1!$B$93:$B$243</c:f>
              <c:numCache>
                <c:formatCode>0</c:formatCode>
                <c:ptCount val="151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4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4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3</c:v>
                </c:pt>
                <c:pt idx="27">
                  <c:v>10937</c:v>
                </c:pt>
                <c:pt idx="28">
                  <c:v>16476</c:v>
                </c:pt>
                <c:pt idx="29">
                  <c:v>17061</c:v>
                </c:pt>
                <c:pt idx="30">
                  <c:v>13307</c:v>
                </c:pt>
                <c:pt idx="31">
                  <c:v>3446</c:v>
                </c:pt>
                <c:pt idx="32">
                  <c:v>4984</c:v>
                </c:pt>
                <c:pt idx="33">
                  <c:v>6268</c:v>
                </c:pt>
                <c:pt idx="34">
                  <c:v>12956</c:v>
                </c:pt>
                <c:pt idx="35">
                  <c:v>17401</c:v>
                </c:pt>
                <c:pt idx="36">
                  <c:v>17771</c:v>
                </c:pt>
                <c:pt idx="37">
                  <c:v>14882</c:v>
                </c:pt>
                <c:pt idx="38">
                  <c:v>13099</c:v>
                </c:pt>
                <c:pt idx="39">
                  <c:v>8438</c:v>
                </c:pt>
                <c:pt idx="40">
                  <c:v>4313</c:v>
                </c:pt>
                <c:pt idx="41">
                  <c:v>9386</c:v>
                </c:pt>
                <c:pt idx="42">
                  <c:v>10811</c:v>
                </c:pt>
                <c:pt idx="43">
                  <c:v>10920</c:v>
                </c:pt>
                <c:pt idx="44">
                  <c:v>8087</c:v>
                </c:pt>
                <c:pt idx="45">
                  <c:v>9301</c:v>
                </c:pt>
                <c:pt idx="46">
                  <c:v>5242</c:v>
                </c:pt>
                <c:pt idx="47">
                  <c:v>2641</c:v>
                </c:pt>
                <c:pt idx="48">
                  <c:v>7668</c:v>
                </c:pt>
                <c:pt idx="49">
                  <c:v>9610</c:v>
                </c:pt>
                <c:pt idx="50">
                  <c:v>8215</c:v>
                </c:pt>
                <c:pt idx="51">
                  <c:v>7533</c:v>
                </c:pt>
                <c:pt idx="52">
                  <c:v>8468</c:v>
                </c:pt>
                <c:pt idx="53">
                  <c:v>4239</c:v>
                </c:pt>
                <c:pt idx="54">
                  <c:v>2394</c:v>
                </c:pt>
                <c:pt idx="55">
                  <c:v>6974</c:v>
                </c:pt>
                <c:pt idx="56">
                  <c:v>9195</c:v>
                </c:pt>
                <c:pt idx="57">
                  <c:v>8504</c:v>
                </c:pt>
                <c:pt idx="58">
                  <c:v>8010</c:v>
                </c:pt>
                <c:pt idx="59">
                  <c:v>8053</c:v>
                </c:pt>
                <c:pt idx="60">
                  <c:v>4055</c:v>
                </c:pt>
                <c:pt idx="61">
                  <c:v>2573</c:v>
                </c:pt>
                <c:pt idx="62">
                  <c:v>7217</c:v>
                </c:pt>
                <c:pt idx="63">
                  <c:v>9148</c:v>
                </c:pt>
                <c:pt idx="64">
                  <c:v>9667</c:v>
                </c:pt>
                <c:pt idx="65">
                  <c:v>8107</c:v>
                </c:pt>
                <c:pt idx="66">
                  <c:v>8622</c:v>
                </c:pt>
                <c:pt idx="67">
                  <c:v>4820</c:v>
                </c:pt>
                <c:pt idx="68">
                  <c:v>2451</c:v>
                </c:pt>
                <c:pt idx="69">
                  <c:v>7777</c:v>
                </c:pt>
                <c:pt idx="70">
                  <c:v>10283</c:v>
                </c:pt>
                <c:pt idx="71">
                  <c:v>9538</c:v>
                </c:pt>
                <c:pt idx="72">
                  <c:v>9018</c:v>
                </c:pt>
                <c:pt idx="73">
                  <c:v>8830</c:v>
                </c:pt>
                <c:pt idx="74">
                  <c:v>5141</c:v>
                </c:pt>
                <c:pt idx="75">
                  <c:v>2880</c:v>
                </c:pt>
                <c:pt idx="76">
                  <c:v>8905</c:v>
                </c:pt>
                <c:pt idx="77">
                  <c:v>12608</c:v>
                </c:pt>
                <c:pt idx="78">
                  <c:v>10939</c:v>
                </c:pt>
                <c:pt idx="79">
                  <c:v>11704</c:v>
                </c:pt>
                <c:pt idx="80">
                  <c:v>11288</c:v>
                </c:pt>
                <c:pt idx="81">
                  <c:v>6775</c:v>
                </c:pt>
                <c:pt idx="82">
                  <c:v>4068</c:v>
                </c:pt>
                <c:pt idx="83">
                  <c:v>11408</c:v>
                </c:pt>
                <c:pt idx="84">
                  <c:v>15840</c:v>
                </c:pt>
                <c:pt idx="85">
                  <c:v>13796</c:v>
                </c:pt>
                <c:pt idx="86">
                  <c:v>14588</c:v>
                </c:pt>
                <c:pt idx="87">
                  <c:v>14776</c:v>
                </c:pt>
                <c:pt idx="88">
                  <c:v>7824</c:v>
                </c:pt>
                <c:pt idx="89">
                  <c:v>4587</c:v>
                </c:pt>
                <c:pt idx="90">
                  <c:v>12325</c:v>
                </c:pt>
                <c:pt idx="91">
                  <c:v>16777</c:v>
                </c:pt>
                <c:pt idx="92">
                  <c:v>15237</c:v>
                </c:pt>
                <c:pt idx="93">
                  <c:v>14648</c:v>
                </c:pt>
                <c:pt idx="94">
                  <c:v>13169</c:v>
                </c:pt>
                <c:pt idx="95">
                  <c:v>9130</c:v>
                </c:pt>
                <c:pt idx="96">
                  <c:v>3982</c:v>
                </c:pt>
                <c:pt idx="97">
                  <c:v>10653</c:v>
                </c:pt>
                <c:pt idx="98">
                  <c:v>15358</c:v>
                </c:pt>
                <c:pt idx="99">
                  <c:v>14535</c:v>
                </c:pt>
                <c:pt idx="100">
                  <c:v>11245</c:v>
                </c:pt>
                <c:pt idx="101">
                  <c:v>14960</c:v>
                </c:pt>
                <c:pt idx="102">
                  <c:v>6956</c:v>
                </c:pt>
                <c:pt idx="103">
                  <c:v>3332</c:v>
                </c:pt>
                <c:pt idx="104">
                  <c:v>10629</c:v>
                </c:pt>
                <c:pt idx="105">
                  <c:v>14028</c:v>
                </c:pt>
                <c:pt idx="106">
                  <c:v>12027</c:v>
                </c:pt>
                <c:pt idx="107">
                  <c:v>10660</c:v>
                </c:pt>
                <c:pt idx="108">
                  <c:v>9710</c:v>
                </c:pt>
                <c:pt idx="109">
                  <c:v>5466</c:v>
                </c:pt>
                <c:pt idx="110">
                  <c:v>2390</c:v>
                </c:pt>
                <c:pt idx="111">
                  <c:v>8240</c:v>
                </c:pt>
                <c:pt idx="112">
                  <c:v>10968</c:v>
                </c:pt>
                <c:pt idx="113">
                  <c:v>8847</c:v>
                </c:pt>
                <c:pt idx="114">
                  <c:v>7925</c:v>
                </c:pt>
                <c:pt idx="115">
                  <c:v>7710</c:v>
                </c:pt>
                <c:pt idx="116">
                  <c:v>3969</c:v>
                </c:pt>
                <c:pt idx="117">
                  <c:v>1743</c:v>
                </c:pt>
                <c:pt idx="118">
                  <c:v>6935</c:v>
                </c:pt>
                <c:pt idx="119">
                  <c:v>8630</c:v>
                </c:pt>
                <c:pt idx="120">
                  <c:v>7262</c:v>
                </c:pt>
                <c:pt idx="121">
                  <c:v>6244</c:v>
                </c:pt>
                <c:pt idx="122">
                  <c:v>3837</c:v>
                </c:pt>
                <c:pt idx="123">
                  <c:v>2160</c:v>
                </c:pt>
                <c:pt idx="124">
                  <c:v>1925</c:v>
                </c:pt>
                <c:pt idx="125">
                  <c:v>1419</c:v>
                </c:pt>
                <c:pt idx="126">
                  <c:v>5580</c:v>
                </c:pt>
                <c:pt idx="127">
                  <c:v>7051</c:v>
                </c:pt>
                <c:pt idx="128">
                  <c:v>5282</c:v>
                </c:pt>
                <c:pt idx="129">
                  <c:v>4819</c:v>
                </c:pt>
                <c:pt idx="130">
                  <c:v>2204</c:v>
                </c:pt>
                <c:pt idx="131">
                  <c:v>986</c:v>
                </c:pt>
                <c:pt idx="132">
                  <c:v>3868</c:v>
                </c:pt>
                <c:pt idx="133">
                  <c:v>5056</c:v>
                </c:pt>
                <c:pt idx="134">
                  <c:v>3715</c:v>
                </c:pt>
                <c:pt idx="135">
                  <c:v>3264</c:v>
                </c:pt>
                <c:pt idx="136">
                  <c:v>3215</c:v>
                </c:pt>
                <c:pt idx="137">
                  <c:v>1541</c:v>
                </c:pt>
                <c:pt idx="138">
                  <c:v>833</c:v>
                </c:pt>
                <c:pt idx="139">
                  <c:v>3337</c:v>
                </c:pt>
                <c:pt idx="140">
                  <c:v>3815</c:v>
                </c:pt>
                <c:pt idx="141">
                  <c:v>2950</c:v>
                </c:pt>
                <c:pt idx="142">
                  <c:v>2627</c:v>
                </c:pt>
                <c:pt idx="143">
                  <c:v>2596</c:v>
                </c:pt>
                <c:pt idx="144">
                  <c:v>1304</c:v>
                </c:pt>
                <c:pt idx="145">
                  <c:v>823</c:v>
                </c:pt>
                <c:pt idx="146">
                  <c:v>2560</c:v>
                </c:pt>
                <c:pt idx="147" formatCode="General">
                  <c:v>32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43</c:f>
              <c:numCache>
                <c:formatCode>m/d/yyyy</c:formatCode>
                <c:ptCount val="151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</c:numCache>
            </c:numRef>
          </c:cat>
          <c:val>
            <c:numRef>
              <c:f>Sheet1!$C$93:$C$243</c:f>
              <c:numCache>
                <c:formatCode>General</c:formatCode>
                <c:ptCount val="15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43</c:f>
              <c:numCache>
                <c:formatCode>m/d/yyyy</c:formatCode>
                <c:ptCount val="151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</c:numCache>
            </c:numRef>
          </c:cat>
          <c:val>
            <c:numRef>
              <c:f>Sheet1!$D$93:$D$243</c:f>
              <c:numCache>
                <c:formatCode>General</c:formatCode>
                <c:ptCount val="151"/>
                <c:pt idx="121">
                  <c:v>7072</c:v>
                </c:pt>
                <c:pt idx="122">
                  <c:v>6671</c:v>
                </c:pt>
                <c:pt idx="123">
                  <c:v>6365</c:v>
                </c:pt>
                <c:pt idx="124">
                  <c:v>6121</c:v>
                </c:pt>
                <c:pt idx="125">
                  <c:v>5850</c:v>
                </c:pt>
                <c:pt idx="126">
                  <c:v>5564</c:v>
                </c:pt>
                <c:pt idx="127">
                  <c:v>5272</c:v>
                </c:pt>
                <c:pt idx="128">
                  <c:v>4978</c:v>
                </c:pt>
                <c:pt idx="129">
                  <c:v>4742</c:v>
                </c:pt>
                <c:pt idx="130">
                  <c:v>4530</c:v>
                </c:pt>
                <c:pt idx="131">
                  <c:v>4322</c:v>
                </c:pt>
                <c:pt idx="132">
                  <c:v>4106</c:v>
                </c:pt>
                <c:pt idx="133">
                  <c:v>3897</c:v>
                </c:pt>
                <c:pt idx="134">
                  <c:v>3703</c:v>
                </c:pt>
                <c:pt idx="135">
                  <c:v>3524</c:v>
                </c:pt>
                <c:pt idx="136">
                  <c:v>3361</c:v>
                </c:pt>
                <c:pt idx="137">
                  <c:v>3202</c:v>
                </c:pt>
                <c:pt idx="138">
                  <c:v>3047</c:v>
                </c:pt>
                <c:pt idx="139">
                  <c:v>2897</c:v>
                </c:pt>
                <c:pt idx="140">
                  <c:v>2757</c:v>
                </c:pt>
                <c:pt idx="141">
                  <c:v>2627</c:v>
                </c:pt>
                <c:pt idx="142">
                  <c:v>2503</c:v>
                </c:pt>
                <c:pt idx="143">
                  <c:v>2386</c:v>
                </c:pt>
                <c:pt idx="144">
                  <c:v>2273</c:v>
                </c:pt>
                <c:pt idx="145">
                  <c:v>2165</c:v>
                </c:pt>
                <c:pt idx="146">
                  <c:v>2064</c:v>
                </c:pt>
                <c:pt idx="147">
                  <c:v>1968</c:v>
                </c:pt>
                <c:pt idx="148">
                  <c:v>1877</c:v>
                </c:pt>
                <c:pt idx="149" formatCode="#,##0">
                  <c:v>1790</c:v>
                </c:pt>
                <c:pt idx="150" formatCode="#,##0">
                  <c:v>17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43</c:f>
              <c:numCache>
                <c:formatCode>m/d/yyyy</c:formatCode>
                <c:ptCount val="151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</c:numCache>
            </c:numRef>
          </c:cat>
          <c:val>
            <c:numRef>
              <c:f>Sheet1!$E$93:$E$243</c:f>
              <c:numCache>
                <c:formatCode>General</c:formatCode>
                <c:ptCount val="151"/>
                <c:pt idx="121">
                  <c:v>7390</c:v>
                </c:pt>
                <c:pt idx="122">
                  <c:v>7175</c:v>
                </c:pt>
                <c:pt idx="123">
                  <c:v>6975</c:v>
                </c:pt>
                <c:pt idx="124">
                  <c:v>6789</c:v>
                </c:pt>
                <c:pt idx="125">
                  <c:v>6605</c:v>
                </c:pt>
                <c:pt idx="126">
                  <c:v>6422</c:v>
                </c:pt>
                <c:pt idx="127">
                  <c:v>6241</c:v>
                </c:pt>
                <c:pt idx="128">
                  <c:v>6063</c:v>
                </c:pt>
                <c:pt idx="129">
                  <c:v>5895</c:v>
                </c:pt>
                <c:pt idx="130">
                  <c:v>5735</c:v>
                </c:pt>
                <c:pt idx="131">
                  <c:v>5579</c:v>
                </c:pt>
                <c:pt idx="132">
                  <c:v>5425</c:v>
                </c:pt>
                <c:pt idx="133">
                  <c:v>5273</c:v>
                </c:pt>
                <c:pt idx="134">
                  <c:v>5128</c:v>
                </c:pt>
                <c:pt idx="135">
                  <c:v>4987</c:v>
                </c:pt>
                <c:pt idx="136">
                  <c:v>4851</c:v>
                </c:pt>
                <c:pt idx="137">
                  <c:v>4719</c:v>
                </c:pt>
                <c:pt idx="138">
                  <c:v>4590</c:v>
                </c:pt>
                <c:pt idx="139">
                  <c:v>4464</c:v>
                </c:pt>
                <c:pt idx="140">
                  <c:v>4343</c:v>
                </c:pt>
                <c:pt idx="141">
                  <c:v>4225</c:v>
                </c:pt>
                <c:pt idx="142">
                  <c:v>4110</c:v>
                </c:pt>
                <c:pt idx="143">
                  <c:v>3999</c:v>
                </c:pt>
                <c:pt idx="144">
                  <c:v>3891</c:v>
                </c:pt>
                <c:pt idx="145">
                  <c:v>3786</c:v>
                </c:pt>
                <c:pt idx="146">
                  <c:v>3684</c:v>
                </c:pt>
                <c:pt idx="147">
                  <c:v>3585</c:v>
                </c:pt>
                <c:pt idx="148">
                  <c:v>3489</c:v>
                </c:pt>
                <c:pt idx="149" formatCode="#,##0">
                  <c:v>3395</c:v>
                </c:pt>
                <c:pt idx="150" formatCode="#,##0">
                  <c:v>33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14A-45E8-87A1-7BD2345ADB4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43</c:f>
              <c:numCache>
                <c:formatCode>m/d/yyyy</c:formatCode>
                <c:ptCount val="151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</c:numCache>
            </c:numRef>
          </c:cat>
          <c:val>
            <c:numRef>
              <c:f>Sheet1!$F$93:$F$243</c:f>
              <c:numCache>
                <c:formatCode>General</c:formatCode>
                <c:ptCount val="151"/>
                <c:pt idx="121">
                  <c:v>7708</c:v>
                </c:pt>
                <c:pt idx="122">
                  <c:v>7680</c:v>
                </c:pt>
                <c:pt idx="123">
                  <c:v>7587</c:v>
                </c:pt>
                <c:pt idx="124">
                  <c:v>7458</c:v>
                </c:pt>
                <c:pt idx="125">
                  <c:v>7377</c:v>
                </c:pt>
                <c:pt idx="126">
                  <c:v>7321</c:v>
                </c:pt>
                <c:pt idx="127">
                  <c:v>7282</c:v>
                </c:pt>
                <c:pt idx="128">
                  <c:v>7253</c:v>
                </c:pt>
                <c:pt idx="129">
                  <c:v>7181</c:v>
                </c:pt>
                <c:pt idx="130">
                  <c:v>7099</c:v>
                </c:pt>
                <c:pt idx="131">
                  <c:v>7029</c:v>
                </c:pt>
                <c:pt idx="132">
                  <c:v>6981</c:v>
                </c:pt>
                <c:pt idx="133">
                  <c:v>6936</c:v>
                </c:pt>
                <c:pt idx="134">
                  <c:v>6884</c:v>
                </c:pt>
                <c:pt idx="135">
                  <c:v>6824</c:v>
                </c:pt>
                <c:pt idx="136">
                  <c:v>6760</c:v>
                </c:pt>
                <c:pt idx="137">
                  <c:v>6702</c:v>
                </c:pt>
                <c:pt idx="138">
                  <c:v>6651</c:v>
                </c:pt>
                <c:pt idx="139">
                  <c:v>6603</c:v>
                </c:pt>
                <c:pt idx="140">
                  <c:v>6550</c:v>
                </c:pt>
                <c:pt idx="141">
                  <c:v>6494</c:v>
                </c:pt>
                <c:pt idx="142">
                  <c:v>6439</c:v>
                </c:pt>
                <c:pt idx="143">
                  <c:v>6387</c:v>
                </c:pt>
                <c:pt idx="144">
                  <c:v>6337</c:v>
                </c:pt>
                <c:pt idx="145">
                  <c:v>6287</c:v>
                </c:pt>
                <c:pt idx="146">
                  <c:v>6237</c:v>
                </c:pt>
                <c:pt idx="147">
                  <c:v>6186</c:v>
                </c:pt>
                <c:pt idx="148">
                  <c:v>6136</c:v>
                </c:pt>
                <c:pt idx="149" formatCode="#,##0">
                  <c:v>6086</c:v>
                </c:pt>
                <c:pt idx="150" formatCode="#,##0">
                  <c:v>60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43</c:f>
              <c:numCache>
                <c:formatCode>m/d/yyyy</c:formatCode>
                <c:ptCount val="151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</c:numCache>
            </c:numRef>
          </c:cat>
          <c:val>
            <c:numRef>
              <c:f>Sheet1!$G$93:$G$243</c:f>
              <c:numCache>
                <c:formatCode>General</c:formatCode>
                <c:ptCount val="151"/>
                <c:pt idx="121">
                  <c:v>8186</c:v>
                </c:pt>
                <c:pt idx="122">
                  <c:v>8437</c:v>
                </c:pt>
                <c:pt idx="123">
                  <c:v>8503</c:v>
                </c:pt>
                <c:pt idx="124">
                  <c:v>8460</c:v>
                </c:pt>
                <c:pt idx="125">
                  <c:v>8563</c:v>
                </c:pt>
                <c:pt idx="126">
                  <c:v>8747</c:v>
                </c:pt>
                <c:pt idx="127">
                  <c:v>8978</c:v>
                </c:pt>
                <c:pt idx="128">
                  <c:v>9236</c:v>
                </c:pt>
                <c:pt idx="129">
                  <c:v>9355</c:v>
                </c:pt>
                <c:pt idx="130">
                  <c:v>9451</c:v>
                </c:pt>
                <c:pt idx="131">
                  <c:v>9588</c:v>
                </c:pt>
                <c:pt idx="132">
                  <c:v>9804</c:v>
                </c:pt>
                <c:pt idx="133">
                  <c:v>10024</c:v>
                </c:pt>
                <c:pt idx="134">
                  <c:v>10219</c:v>
                </c:pt>
                <c:pt idx="135">
                  <c:v>10388</c:v>
                </c:pt>
                <c:pt idx="136">
                  <c:v>10545</c:v>
                </c:pt>
                <c:pt idx="137">
                  <c:v>10729</c:v>
                </c:pt>
                <c:pt idx="138">
                  <c:v>10941</c:v>
                </c:pt>
                <c:pt idx="139">
                  <c:v>11161</c:v>
                </c:pt>
                <c:pt idx="140">
                  <c:v>11364</c:v>
                </c:pt>
                <c:pt idx="141">
                  <c:v>11559</c:v>
                </c:pt>
                <c:pt idx="142">
                  <c:v>11757</c:v>
                </c:pt>
                <c:pt idx="143">
                  <c:v>11970</c:v>
                </c:pt>
                <c:pt idx="144">
                  <c:v>12195</c:v>
                </c:pt>
                <c:pt idx="145">
                  <c:v>12423</c:v>
                </c:pt>
                <c:pt idx="146">
                  <c:v>12648</c:v>
                </c:pt>
                <c:pt idx="147">
                  <c:v>12871</c:v>
                </c:pt>
                <c:pt idx="148">
                  <c:v>13098</c:v>
                </c:pt>
                <c:pt idx="149" formatCode="#,##0">
                  <c:v>13336</c:v>
                </c:pt>
                <c:pt idx="150" formatCode="#,##0">
                  <c:v>135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0</c:v>
                </c:pt>
                <c:pt idx="148">
                  <c:v>44311</c:v>
                </c:pt>
                <c:pt idx="149">
                  <c:v>44312</c:v>
                </c:pt>
                <c:pt idx="150">
                  <c:v>44313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4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4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3</c:v>
                </c:pt>
                <c:pt idx="27">
                  <c:v>10937</c:v>
                </c:pt>
                <c:pt idx="28">
                  <c:v>16476</c:v>
                </c:pt>
                <c:pt idx="29">
                  <c:v>17061</c:v>
                </c:pt>
                <c:pt idx="30">
                  <c:v>13307</c:v>
                </c:pt>
                <c:pt idx="31">
                  <c:v>3446</c:v>
                </c:pt>
                <c:pt idx="32">
                  <c:v>4984</c:v>
                </c:pt>
                <c:pt idx="33">
                  <c:v>6268</c:v>
                </c:pt>
                <c:pt idx="34">
                  <c:v>12956</c:v>
                </c:pt>
                <c:pt idx="35">
                  <c:v>17401</c:v>
                </c:pt>
                <c:pt idx="36">
                  <c:v>17771</c:v>
                </c:pt>
                <c:pt idx="37">
                  <c:v>14882</c:v>
                </c:pt>
                <c:pt idx="38">
                  <c:v>13099</c:v>
                </c:pt>
                <c:pt idx="39">
                  <c:v>8438</c:v>
                </c:pt>
                <c:pt idx="40">
                  <c:v>4313</c:v>
                </c:pt>
                <c:pt idx="41">
                  <c:v>9386</c:v>
                </c:pt>
                <c:pt idx="42">
                  <c:v>10811</c:v>
                </c:pt>
                <c:pt idx="43">
                  <c:v>10920</c:v>
                </c:pt>
                <c:pt idx="44">
                  <c:v>8087</c:v>
                </c:pt>
                <c:pt idx="45">
                  <c:v>9301</c:v>
                </c:pt>
                <c:pt idx="46">
                  <c:v>5242</c:v>
                </c:pt>
                <c:pt idx="47">
                  <c:v>2641</c:v>
                </c:pt>
                <c:pt idx="48">
                  <c:v>7668</c:v>
                </c:pt>
                <c:pt idx="49">
                  <c:v>9610</c:v>
                </c:pt>
                <c:pt idx="50">
                  <c:v>8215</c:v>
                </c:pt>
                <c:pt idx="51">
                  <c:v>7533</c:v>
                </c:pt>
                <c:pt idx="52">
                  <c:v>8468</c:v>
                </c:pt>
                <c:pt idx="53">
                  <c:v>4239</c:v>
                </c:pt>
                <c:pt idx="54">
                  <c:v>2394</c:v>
                </c:pt>
                <c:pt idx="55">
                  <c:v>6974</c:v>
                </c:pt>
                <c:pt idx="56">
                  <c:v>9195</c:v>
                </c:pt>
                <c:pt idx="57">
                  <c:v>8504</c:v>
                </c:pt>
                <c:pt idx="58">
                  <c:v>8010</c:v>
                </c:pt>
                <c:pt idx="59">
                  <c:v>8053</c:v>
                </c:pt>
                <c:pt idx="60">
                  <c:v>4055</c:v>
                </c:pt>
                <c:pt idx="61">
                  <c:v>2573</c:v>
                </c:pt>
                <c:pt idx="62">
                  <c:v>7217</c:v>
                </c:pt>
                <c:pt idx="63">
                  <c:v>9148</c:v>
                </c:pt>
                <c:pt idx="64">
                  <c:v>9667</c:v>
                </c:pt>
                <c:pt idx="65">
                  <c:v>8107</c:v>
                </c:pt>
                <c:pt idx="66">
                  <c:v>8622</c:v>
                </c:pt>
                <c:pt idx="67">
                  <c:v>4820</c:v>
                </c:pt>
                <c:pt idx="68">
                  <c:v>2451</c:v>
                </c:pt>
                <c:pt idx="69">
                  <c:v>7777</c:v>
                </c:pt>
                <c:pt idx="70">
                  <c:v>10283</c:v>
                </c:pt>
                <c:pt idx="71">
                  <c:v>9538</c:v>
                </c:pt>
                <c:pt idx="72">
                  <c:v>9018</c:v>
                </c:pt>
                <c:pt idx="73">
                  <c:v>8830</c:v>
                </c:pt>
                <c:pt idx="74">
                  <c:v>5141</c:v>
                </c:pt>
                <c:pt idx="75">
                  <c:v>2880</c:v>
                </c:pt>
                <c:pt idx="76">
                  <c:v>8905</c:v>
                </c:pt>
                <c:pt idx="77">
                  <c:v>12608</c:v>
                </c:pt>
                <c:pt idx="78">
                  <c:v>10939</c:v>
                </c:pt>
                <c:pt idx="79">
                  <c:v>11704</c:v>
                </c:pt>
                <c:pt idx="80">
                  <c:v>11288</c:v>
                </c:pt>
                <c:pt idx="81">
                  <c:v>6775</c:v>
                </c:pt>
                <c:pt idx="82">
                  <c:v>4068</c:v>
                </c:pt>
                <c:pt idx="83">
                  <c:v>11408</c:v>
                </c:pt>
                <c:pt idx="84">
                  <c:v>15840</c:v>
                </c:pt>
                <c:pt idx="85">
                  <c:v>13796</c:v>
                </c:pt>
                <c:pt idx="86">
                  <c:v>14588</c:v>
                </c:pt>
                <c:pt idx="87">
                  <c:v>14776</c:v>
                </c:pt>
                <c:pt idx="88">
                  <c:v>7824</c:v>
                </c:pt>
                <c:pt idx="89">
                  <c:v>4587</c:v>
                </c:pt>
                <c:pt idx="90">
                  <c:v>12325</c:v>
                </c:pt>
                <c:pt idx="91">
                  <c:v>16777</c:v>
                </c:pt>
                <c:pt idx="92">
                  <c:v>15237</c:v>
                </c:pt>
                <c:pt idx="93">
                  <c:v>14648</c:v>
                </c:pt>
                <c:pt idx="94">
                  <c:v>13169</c:v>
                </c:pt>
                <c:pt idx="95">
                  <c:v>9130</c:v>
                </c:pt>
                <c:pt idx="96">
                  <c:v>3982</c:v>
                </c:pt>
                <c:pt idx="97">
                  <c:v>10653</c:v>
                </c:pt>
                <c:pt idx="98">
                  <c:v>15358</c:v>
                </c:pt>
                <c:pt idx="99">
                  <c:v>14535</c:v>
                </c:pt>
                <c:pt idx="100">
                  <c:v>11245</c:v>
                </c:pt>
                <c:pt idx="101">
                  <c:v>14960</c:v>
                </c:pt>
                <c:pt idx="102">
                  <c:v>6956</c:v>
                </c:pt>
                <c:pt idx="103">
                  <c:v>3332</c:v>
                </c:pt>
                <c:pt idx="104">
                  <c:v>10629</c:v>
                </c:pt>
                <c:pt idx="105">
                  <c:v>14028</c:v>
                </c:pt>
                <c:pt idx="106">
                  <c:v>12027</c:v>
                </c:pt>
                <c:pt idx="107">
                  <c:v>10660</c:v>
                </c:pt>
                <c:pt idx="108">
                  <c:v>9710</c:v>
                </c:pt>
                <c:pt idx="109">
                  <c:v>5466</c:v>
                </c:pt>
                <c:pt idx="110">
                  <c:v>2390</c:v>
                </c:pt>
                <c:pt idx="111">
                  <c:v>8240</c:v>
                </c:pt>
                <c:pt idx="112">
                  <c:v>10968</c:v>
                </c:pt>
                <c:pt idx="113">
                  <c:v>8847</c:v>
                </c:pt>
                <c:pt idx="114">
                  <c:v>7925</c:v>
                </c:pt>
                <c:pt idx="115">
                  <c:v>7710</c:v>
                </c:pt>
                <c:pt idx="116">
                  <c:v>3969</c:v>
                </c:pt>
                <c:pt idx="117">
                  <c:v>1743</c:v>
                </c:pt>
                <c:pt idx="118">
                  <c:v>6935</c:v>
                </c:pt>
                <c:pt idx="119">
                  <c:v>8630</c:v>
                </c:pt>
                <c:pt idx="120">
                  <c:v>7262</c:v>
                </c:pt>
                <c:pt idx="121">
                  <c:v>6244</c:v>
                </c:pt>
                <c:pt idx="122">
                  <c:v>3837</c:v>
                </c:pt>
                <c:pt idx="123">
                  <c:v>2160</c:v>
                </c:pt>
                <c:pt idx="124">
                  <c:v>1925</c:v>
                </c:pt>
                <c:pt idx="125">
                  <c:v>1419</c:v>
                </c:pt>
                <c:pt idx="126">
                  <c:v>5580</c:v>
                </c:pt>
                <c:pt idx="127">
                  <c:v>7051</c:v>
                </c:pt>
                <c:pt idx="128">
                  <c:v>5282</c:v>
                </c:pt>
                <c:pt idx="129">
                  <c:v>4819</c:v>
                </c:pt>
                <c:pt idx="130">
                  <c:v>2204</c:v>
                </c:pt>
                <c:pt idx="131">
                  <c:v>986</c:v>
                </c:pt>
                <c:pt idx="132">
                  <c:v>3868</c:v>
                </c:pt>
                <c:pt idx="133">
                  <c:v>5056</c:v>
                </c:pt>
                <c:pt idx="134">
                  <c:v>3715</c:v>
                </c:pt>
                <c:pt idx="135">
                  <c:v>3264</c:v>
                </c:pt>
                <c:pt idx="136">
                  <c:v>3215</c:v>
                </c:pt>
                <c:pt idx="137">
                  <c:v>1541</c:v>
                </c:pt>
                <c:pt idx="138">
                  <c:v>833</c:v>
                </c:pt>
                <c:pt idx="139">
                  <c:v>3337</c:v>
                </c:pt>
                <c:pt idx="140">
                  <c:v>3815</c:v>
                </c:pt>
                <c:pt idx="141">
                  <c:v>2950</c:v>
                </c:pt>
                <c:pt idx="142">
                  <c:v>2627</c:v>
                </c:pt>
                <c:pt idx="143">
                  <c:v>2596</c:v>
                </c:pt>
                <c:pt idx="144">
                  <c:v>1304</c:v>
                </c:pt>
                <c:pt idx="145">
                  <c:v>823</c:v>
                </c:pt>
                <c:pt idx="146">
                  <c:v>2560</c:v>
                </c:pt>
                <c:pt idx="147" formatCode="General">
                  <c:v>1304</c:v>
                </c:pt>
                <c:pt idx="148" formatCode="General">
                  <c:v>823</c:v>
                </c:pt>
                <c:pt idx="149" formatCode="General">
                  <c:v>2560</c:v>
                </c:pt>
                <c:pt idx="150" formatCode="General">
                  <c:v>32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0</c:v>
                </c:pt>
                <c:pt idx="148">
                  <c:v>44311</c:v>
                </c:pt>
                <c:pt idx="149">
                  <c:v>44312</c:v>
                </c:pt>
                <c:pt idx="150">
                  <c:v>44313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7D6-49D4-BBCA-40283A14DED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0</c:v>
                </c:pt>
                <c:pt idx="148">
                  <c:v>44311</c:v>
                </c:pt>
                <c:pt idx="149">
                  <c:v>44312</c:v>
                </c:pt>
                <c:pt idx="150">
                  <c:v>44313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13565.398587364976</c:v>
                </c:pt>
                <c:pt idx="89">
                  <c:v>13597.620772138698</c:v>
                </c:pt>
                <c:pt idx="90">
                  <c:v>13548.918318527833</c:v>
                </c:pt>
                <c:pt idx="91">
                  <c:v>13455.939457546039</c:v>
                </c:pt>
                <c:pt idx="92">
                  <c:v>13336.901120744071</c:v>
                </c:pt>
                <c:pt idx="93">
                  <c:v>13201.041345989797</c:v>
                </c:pt>
                <c:pt idx="94">
                  <c:v>13053.250245753177</c:v>
                </c:pt>
                <c:pt idx="95">
                  <c:v>12896.318961767711</c:v>
                </c:pt>
                <c:pt idx="96">
                  <c:v>12732.020108445684</c:v>
                </c:pt>
                <c:pt idx="97">
                  <c:v>12561.620250351514</c:v>
                </c:pt>
                <c:pt idx="98">
                  <c:v>12386.119621972726</c:v>
                </c:pt>
                <c:pt idx="99">
                  <c:v>12206.362920696471</c:v>
                </c:pt>
                <c:pt idx="100">
                  <c:v>12023.090421835983</c:v>
                </c:pt>
                <c:pt idx="101">
                  <c:v>11836.962221911288</c:v>
                </c:pt>
                <c:pt idx="102">
                  <c:v>11648.570807348526</c:v>
                </c:pt>
                <c:pt idx="103">
                  <c:v>11458.448766482525</c:v>
                </c:pt>
                <c:pt idx="104">
                  <c:v>11267.074560520114</c:v>
                </c:pt>
                <c:pt idx="105">
                  <c:v>11074.877508179043</c:v>
                </c:pt>
                <c:pt idx="106">
                  <c:v>10882.242381785769</c:v>
                </c:pt>
                <c:pt idx="107">
                  <c:v>10689.513712989812</c:v>
                </c:pt>
                <c:pt idx="108">
                  <c:v>10496.999805791134</c:v>
                </c:pt>
                <c:pt idx="109">
                  <c:v>10304.976434519584</c:v>
                </c:pt>
                <c:pt idx="110">
                  <c:v>10113.69021224228</c:v>
                </c:pt>
                <c:pt idx="111">
                  <c:v>9923.361629071529</c:v>
                </c:pt>
                <c:pt idx="112">
                  <c:v>9734.1877720736393</c:v>
                </c:pt>
                <c:pt idx="113">
                  <c:v>9546.3447468654849</c:v>
                </c:pt>
                <c:pt idx="114">
                  <c:v>9359.989825699653</c:v>
                </c:pt>
                <c:pt idx="115">
                  <c:v>9175.2633487234507</c:v>
                </c:pt>
                <c:pt idx="116">
                  <c:v>8992.2904050442994</c:v>
                </c:pt>
                <c:pt idx="117">
                  <c:v>8811.1823189776806</c:v>
                </c:pt>
                <c:pt idx="118">
                  <c:v>8632.0379649301503</c:v>
                </c:pt>
                <c:pt idx="119">
                  <c:v>8454.9449321447137</c:v>
                </c:pt>
                <c:pt idx="120">
                  <c:v>8279.9805582433582</c:v>
                </c:pt>
                <c:pt idx="121">
                  <c:v>8107.2128482826047</c:v>
                </c:pt>
                <c:pt idx="122">
                  <c:v>7936.701293970641</c:v>
                </c:pt>
                <c:pt idx="123">
                  <c:v>7768.4976058159664</c:v>
                </c:pt>
                <c:pt idx="124">
                  <c:v>7602.6463692990101</c:v>
                </c:pt>
                <c:pt idx="125">
                  <c:v>7439.1856346759896</c:v>
                </c:pt>
                <c:pt idx="126">
                  <c:v>7278.1474487267014</c:v>
                </c:pt>
                <c:pt idx="127">
                  <c:v>7119.5583356283587</c:v>
                </c:pt>
                <c:pt idx="128">
                  <c:v>6963.4397331588161</c:v>
                </c:pt>
                <c:pt idx="129">
                  <c:v>6809.8083895867212</c:v>
                </c:pt>
                <c:pt idx="130">
                  <c:v>6658.6767258768996</c:v>
                </c:pt>
                <c:pt idx="131">
                  <c:v>6510.0531672116349</c:v>
                </c:pt>
                <c:pt idx="132">
                  <c:v>6363.942447288402</c:v>
                </c:pt>
                <c:pt idx="133">
                  <c:v>6220.3458883906142</c:v>
                </c:pt>
                <c:pt idx="134">
                  <c:v>6079.2616598290442</c:v>
                </c:pt>
                <c:pt idx="135">
                  <c:v>5940.6850170089601</c:v>
                </c:pt>
                <c:pt idx="136">
                  <c:v>5804.6085230835033</c:v>
                </c:pt>
                <c:pt idx="137">
                  <c:v>5671.0222549007694</c:v>
                </c:pt>
                <c:pt idx="138">
                  <c:v>5539.9139947345457</c:v>
                </c:pt>
                <c:pt idx="139">
                  <c:v>5411.2694091014473</c:v>
                </c:pt>
                <c:pt idx="140">
                  <c:v>5285.072215806259</c:v>
                </c:pt>
                <c:pt idx="141">
                  <c:v>5161.3043402186613</c:v>
                </c:pt>
                <c:pt idx="142">
                  <c:v>5039.9460616651231</c:v>
                </c:pt>
                <c:pt idx="143">
                  <c:v>4920.9761507168096</c:v>
                </c:pt>
                <c:pt idx="144">
                  <c:v>4804.3719980655906</c:v>
                </c:pt>
                <c:pt idx="145">
                  <c:v>4690.1097356035389</c:v>
                </c:pt>
                <c:pt idx="146">
                  <c:v>4578.1643502550887</c:v>
                </c:pt>
                <c:pt idx="147">
                  <c:v>4468.5097910536624</c:v>
                </c:pt>
                <c:pt idx="148">
                  <c:v>4361.1190699049157</c:v>
                </c:pt>
                <c:pt idx="149">
                  <c:v>4255.9643564357075</c:v>
                </c:pt>
                <c:pt idx="150">
                  <c:v>4153.017067290396</c:v>
                </c:pt>
                <c:pt idx="151" formatCode="#,##0">
                  <c:v>4052.2479502035376</c:v>
                </c:pt>
                <c:pt idx="152" formatCode="#,##0">
                  <c:v>3953.6271631495847</c:v>
                </c:pt>
                <c:pt idx="153" formatCode="#,##0">
                  <c:v>3857.1243488453674</c:v>
                </c:pt>
                <c:pt idx="154" formatCode="#,##0">
                  <c:v>3762.7087048593494</c:v>
                </c:pt>
                <c:pt idx="155" formatCode="#,##0">
                  <c:v>3670.3490495624683</c:v>
                </c:pt>
                <c:pt idx="156" formatCode="#,##0">
                  <c:v>3580.0138841385356</c:v>
                </c:pt>
                <c:pt idx="157" formatCode="#,##0">
                  <c:v>3491.6714508571886</c:v>
                </c:pt>
                <c:pt idx="158" formatCode="#,##0">
                  <c:v>3405.2897877991431</c:v>
                </c:pt>
                <c:pt idx="159" formatCode="#,##0">
                  <c:v>3320.8367802116381</c:v>
                </c:pt>
                <c:pt idx="160" formatCode="#,##0">
                  <c:v>3238.2802086613838</c:v>
                </c:pt>
                <c:pt idx="161" formatCode="#,##0">
                  <c:v>3157.5877941427698</c:v>
                </c:pt>
                <c:pt idx="162" formatCode="#,##0">
                  <c:v>3078.7272402904882</c:v>
                </c:pt>
                <c:pt idx="163" formatCode="#,##0">
                  <c:v>3001.6662728378628</c:v>
                </c:pt>
                <c:pt idx="164" formatCode="#,##0">
                  <c:v>2926.3726764550584</c:v>
                </c:pt>
                <c:pt idx="165" formatCode="#,##0">
                  <c:v>2852.8143290947587</c:v>
                </c:pt>
                <c:pt idx="166" formatCode="#,##0">
                  <c:v>2780.9592339668447</c:v>
                </c:pt>
                <c:pt idx="167" formatCode="#,##0">
                  <c:v>2710.7755492580272</c:v>
                </c:pt>
                <c:pt idx="168" formatCode="#,##0">
                  <c:v>2642.2316157071173</c:v>
                </c:pt>
                <c:pt idx="169" formatCode="#,##0">
                  <c:v>2575.2959821417821</c:v>
                </c:pt>
                <c:pt idx="170" formatCode="#,##0">
                  <c:v>2509.9374290780111</c:v>
                </c:pt>
                <c:pt idx="171" formatCode="#,##0">
                  <c:v>2446.1249904791971</c:v>
                </c:pt>
                <c:pt idx="172" formatCode="#,##0">
                  <c:v>2383.8279737676639</c:v>
                </c:pt>
                <c:pt idx="173" formatCode="#,##0">
                  <c:v>2323.0159781775351</c:v>
                </c:pt>
                <c:pt idx="174" formatCode="#,##0">
                  <c:v>2263.6589115341962</c:v>
                </c:pt>
                <c:pt idx="175" formatCode="#,##0">
                  <c:v>2205.7270055419972</c:v>
                </c:pt>
                <c:pt idx="176" formatCode="#,##0">
                  <c:v>2149.190829658527</c:v>
                </c:pt>
                <c:pt idx="177" formatCode="#,##0">
                  <c:v>2094.0213036304749</c:v>
                </c:pt>
                <c:pt idx="178" formatCode="#,##0">
                  <c:v>2040.1897087630277</c:v>
                </c:pt>
                <c:pt idx="179" formatCode="#,##0">
                  <c:v>1987.667697991727</c:v>
                </c:pt>
                <c:pt idx="180" formatCode="#,##0">
                  <c:v>1936.4273048228154</c:v>
                </c:pt>
                <c:pt idx="181" formatCode="#,##0">
                  <c:v>1886.4409512053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  <a:prstDash val="sysDash"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0</c:v>
                </c:pt>
                <c:pt idx="148">
                  <c:v>44311</c:v>
                </c:pt>
                <c:pt idx="149">
                  <c:v>44312</c:v>
                </c:pt>
                <c:pt idx="150">
                  <c:v>44313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4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4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3</c:v>
                </c:pt>
                <c:pt idx="27">
                  <c:v>10937</c:v>
                </c:pt>
                <c:pt idx="28">
                  <c:v>16476</c:v>
                </c:pt>
                <c:pt idx="29">
                  <c:v>17061</c:v>
                </c:pt>
                <c:pt idx="30">
                  <c:v>13307</c:v>
                </c:pt>
                <c:pt idx="31">
                  <c:v>3446</c:v>
                </c:pt>
                <c:pt idx="32">
                  <c:v>4984</c:v>
                </c:pt>
                <c:pt idx="33">
                  <c:v>6268</c:v>
                </c:pt>
                <c:pt idx="34">
                  <c:v>12956</c:v>
                </c:pt>
                <c:pt idx="35">
                  <c:v>17401</c:v>
                </c:pt>
                <c:pt idx="36">
                  <c:v>17771</c:v>
                </c:pt>
                <c:pt idx="37">
                  <c:v>14882</c:v>
                </c:pt>
                <c:pt idx="38">
                  <c:v>13099</c:v>
                </c:pt>
                <c:pt idx="39">
                  <c:v>8438</c:v>
                </c:pt>
                <c:pt idx="40">
                  <c:v>4313</c:v>
                </c:pt>
                <c:pt idx="41">
                  <c:v>9386</c:v>
                </c:pt>
                <c:pt idx="42">
                  <c:v>10811</c:v>
                </c:pt>
                <c:pt idx="43">
                  <c:v>10920</c:v>
                </c:pt>
                <c:pt idx="44">
                  <c:v>8087</c:v>
                </c:pt>
                <c:pt idx="45">
                  <c:v>9301</c:v>
                </c:pt>
                <c:pt idx="46">
                  <c:v>5242</c:v>
                </c:pt>
                <c:pt idx="47">
                  <c:v>2641</c:v>
                </c:pt>
                <c:pt idx="48">
                  <c:v>7668</c:v>
                </c:pt>
                <c:pt idx="49">
                  <c:v>9610</c:v>
                </c:pt>
                <c:pt idx="50">
                  <c:v>8215</c:v>
                </c:pt>
                <c:pt idx="51">
                  <c:v>7533</c:v>
                </c:pt>
                <c:pt idx="52">
                  <c:v>8468</c:v>
                </c:pt>
                <c:pt idx="53">
                  <c:v>4239</c:v>
                </c:pt>
                <c:pt idx="54">
                  <c:v>2394</c:v>
                </c:pt>
                <c:pt idx="55">
                  <c:v>6974</c:v>
                </c:pt>
                <c:pt idx="56">
                  <c:v>9195</c:v>
                </c:pt>
                <c:pt idx="57">
                  <c:v>8504</c:v>
                </c:pt>
                <c:pt idx="58">
                  <c:v>8010</c:v>
                </c:pt>
                <c:pt idx="59">
                  <c:v>8053</c:v>
                </c:pt>
                <c:pt idx="60">
                  <c:v>4055</c:v>
                </c:pt>
                <c:pt idx="61">
                  <c:v>2573</c:v>
                </c:pt>
                <c:pt idx="62">
                  <c:v>7217</c:v>
                </c:pt>
                <c:pt idx="63">
                  <c:v>9148</c:v>
                </c:pt>
                <c:pt idx="64">
                  <c:v>9667</c:v>
                </c:pt>
                <c:pt idx="65">
                  <c:v>8107</c:v>
                </c:pt>
                <c:pt idx="66">
                  <c:v>8622</c:v>
                </c:pt>
                <c:pt idx="67">
                  <c:v>4820</c:v>
                </c:pt>
                <c:pt idx="68">
                  <c:v>2451</c:v>
                </c:pt>
                <c:pt idx="69">
                  <c:v>7777</c:v>
                </c:pt>
                <c:pt idx="70">
                  <c:v>10283</c:v>
                </c:pt>
                <c:pt idx="71">
                  <c:v>9538</c:v>
                </c:pt>
                <c:pt idx="72">
                  <c:v>9018</c:v>
                </c:pt>
                <c:pt idx="73">
                  <c:v>8830</c:v>
                </c:pt>
                <c:pt idx="74">
                  <c:v>5141</c:v>
                </c:pt>
                <c:pt idx="75">
                  <c:v>2880</c:v>
                </c:pt>
                <c:pt idx="76">
                  <c:v>8905</c:v>
                </c:pt>
                <c:pt idx="77">
                  <c:v>12608</c:v>
                </c:pt>
                <c:pt idx="78">
                  <c:v>10939</c:v>
                </c:pt>
                <c:pt idx="79">
                  <c:v>11704</c:v>
                </c:pt>
                <c:pt idx="80">
                  <c:v>11288</c:v>
                </c:pt>
                <c:pt idx="81">
                  <c:v>6775</c:v>
                </c:pt>
                <c:pt idx="82">
                  <c:v>4068</c:v>
                </c:pt>
                <c:pt idx="83">
                  <c:v>11408</c:v>
                </c:pt>
                <c:pt idx="84">
                  <c:v>15840</c:v>
                </c:pt>
                <c:pt idx="85">
                  <c:v>13796</c:v>
                </c:pt>
                <c:pt idx="86">
                  <c:v>14588</c:v>
                </c:pt>
                <c:pt idx="87">
                  <c:v>14776</c:v>
                </c:pt>
                <c:pt idx="88">
                  <c:v>7824</c:v>
                </c:pt>
                <c:pt idx="89">
                  <c:v>4587</c:v>
                </c:pt>
                <c:pt idx="90">
                  <c:v>12325</c:v>
                </c:pt>
                <c:pt idx="91">
                  <c:v>16777</c:v>
                </c:pt>
                <c:pt idx="92">
                  <c:v>15237</c:v>
                </c:pt>
                <c:pt idx="93">
                  <c:v>14648</c:v>
                </c:pt>
                <c:pt idx="94">
                  <c:v>13169</c:v>
                </c:pt>
                <c:pt idx="95">
                  <c:v>9130</c:v>
                </c:pt>
                <c:pt idx="96">
                  <c:v>3982</c:v>
                </c:pt>
                <c:pt idx="97">
                  <c:v>10653</c:v>
                </c:pt>
                <c:pt idx="98">
                  <c:v>15358</c:v>
                </c:pt>
                <c:pt idx="99">
                  <c:v>14535</c:v>
                </c:pt>
                <c:pt idx="100">
                  <c:v>11245</c:v>
                </c:pt>
                <c:pt idx="101">
                  <c:v>14960</c:v>
                </c:pt>
                <c:pt idx="102">
                  <c:v>6956</c:v>
                </c:pt>
                <c:pt idx="103">
                  <c:v>3332</c:v>
                </c:pt>
                <c:pt idx="104">
                  <c:v>10629</c:v>
                </c:pt>
                <c:pt idx="105">
                  <c:v>14028</c:v>
                </c:pt>
                <c:pt idx="106">
                  <c:v>12027</c:v>
                </c:pt>
                <c:pt idx="107">
                  <c:v>10660</c:v>
                </c:pt>
                <c:pt idx="108">
                  <c:v>9710</c:v>
                </c:pt>
                <c:pt idx="109">
                  <c:v>5466</c:v>
                </c:pt>
                <c:pt idx="110">
                  <c:v>2390</c:v>
                </c:pt>
                <c:pt idx="111">
                  <c:v>8240</c:v>
                </c:pt>
                <c:pt idx="112">
                  <c:v>10968</c:v>
                </c:pt>
                <c:pt idx="113">
                  <c:v>8847</c:v>
                </c:pt>
                <c:pt idx="114">
                  <c:v>7925</c:v>
                </c:pt>
                <c:pt idx="115">
                  <c:v>7710</c:v>
                </c:pt>
                <c:pt idx="116">
                  <c:v>3969</c:v>
                </c:pt>
                <c:pt idx="117">
                  <c:v>1743</c:v>
                </c:pt>
                <c:pt idx="118">
                  <c:v>6935</c:v>
                </c:pt>
                <c:pt idx="119">
                  <c:v>8630</c:v>
                </c:pt>
                <c:pt idx="120">
                  <c:v>7262</c:v>
                </c:pt>
                <c:pt idx="121">
                  <c:v>6244</c:v>
                </c:pt>
                <c:pt idx="122">
                  <c:v>3837</c:v>
                </c:pt>
                <c:pt idx="123">
                  <c:v>2160</c:v>
                </c:pt>
                <c:pt idx="124">
                  <c:v>1925</c:v>
                </c:pt>
                <c:pt idx="125">
                  <c:v>1419</c:v>
                </c:pt>
                <c:pt idx="126">
                  <c:v>5580</c:v>
                </c:pt>
                <c:pt idx="127">
                  <c:v>7051</c:v>
                </c:pt>
                <c:pt idx="128">
                  <c:v>5282</c:v>
                </c:pt>
                <c:pt idx="129">
                  <c:v>4819</c:v>
                </c:pt>
                <c:pt idx="130">
                  <c:v>2204</c:v>
                </c:pt>
                <c:pt idx="131">
                  <c:v>986</c:v>
                </c:pt>
                <c:pt idx="132">
                  <c:v>3868</c:v>
                </c:pt>
                <c:pt idx="133">
                  <c:v>5056</c:v>
                </c:pt>
                <c:pt idx="134">
                  <c:v>3715</c:v>
                </c:pt>
                <c:pt idx="135">
                  <c:v>3264</c:v>
                </c:pt>
                <c:pt idx="136">
                  <c:v>3215</c:v>
                </c:pt>
                <c:pt idx="137">
                  <c:v>1541</c:v>
                </c:pt>
                <c:pt idx="138">
                  <c:v>833</c:v>
                </c:pt>
                <c:pt idx="139">
                  <c:v>3337</c:v>
                </c:pt>
                <c:pt idx="140">
                  <c:v>3815</c:v>
                </c:pt>
                <c:pt idx="141">
                  <c:v>2950</c:v>
                </c:pt>
                <c:pt idx="142">
                  <c:v>2627</c:v>
                </c:pt>
                <c:pt idx="143">
                  <c:v>2596</c:v>
                </c:pt>
                <c:pt idx="144">
                  <c:v>1304</c:v>
                </c:pt>
                <c:pt idx="145">
                  <c:v>823</c:v>
                </c:pt>
                <c:pt idx="146">
                  <c:v>2560</c:v>
                </c:pt>
                <c:pt idx="147" formatCode="General">
                  <c:v>1304</c:v>
                </c:pt>
                <c:pt idx="148" formatCode="General">
                  <c:v>823</c:v>
                </c:pt>
                <c:pt idx="149" formatCode="General">
                  <c:v>2560</c:v>
                </c:pt>
                <c:pt idx="150" formatCode="General">
                  <c:v>32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0</c:v>
                </c:pt>
                <c:pt idx="148">
                  <c:v>44311</c:v>
                </c:pt>
                <c:pt idx="149">
                  <c:v>44312</c:v>
                </c:pt>
                <c:pt idx="150">
                  <c:v>44313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7D6-49D4-BBCA-40283A14DEDD}"/>
            </c:ext>
          </c:extLst>
        </c:ser>
        <c:ser>
          <c:idx val="4"/>
          <c:order val="2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0</c:v>
                </c:pt>
                <c:pt idx="148">
                  <c:v>44311</c:v>
                </c:pt>
                <c:pt idx="149">
                  <c:v>44312</c:v>
                </c:pt>
                <c:pt idx="150">
                  <c:v>44313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G$93:$G$274</c:f>
              <c:numCache>
                <c:formatCode>General</c:formatCode>
                <c:ptCount val="182"/>
                <c:pt idx="88">
                  <c:v>13565.398587364976</c:v>
                </c:pt>
                <c:pt idx="89">
                  <c:v>13597.620772138698</c:v>
                </c:pt>
                <c:pt idx="90">
                  <c:v>13548.918318527833</c:v>
                </c:pt>
                <c:pt idx="91">
                  <c:v>13455.939457546039</c:v>
                </c:pt>
                <c:pt idx="92">
                  <c:v>13336.901120744071</c:v>
                </c:pt>
                <c:pt idx="93">
                  <c:v>13201.041345989797</c:v>
                </c:pt>
                <c:pt idx="94">
                  <c:v>13053.250245753177</c:v>
                </c:pt>
                <c:pt idx="95">
                  <c:v>12896.318961767711</c:v>
                </c:pt>
                <c:pt idx="96">
                  <c:v>12732.020108445684</c:v>
                </c:pt>
                <c:pt idx="97">
                  <c:v>12561.620250351514</c:v>
                </c:pt>
                <c:pt idx="98">
                  <c:v>12386.119621972726</c:v>
                </c:pt>
                <c:pt idx="99">
                  <c:v>12206.362920696471</c:v>
                </c:pt>
                <c:pt idx="100">
                  <c:v>12023.090421835983</c:v>
                </c:pt>
                <c:pt idx="101">
                  <c:v>11836.962221911288</c:v>
                </c:pt>
                <c:pt idx="102">
                  <c:v>11648.570807348526</c:v>
                </c:pt>
                <c:pt idx="103">
                  <c:v>11458.448766482525</c:v>
                </c:pt>
                <c:pt idx="104">
                  <c:v>11267.074560520114</c:v>
                </c:pt>
                <c:pt idx="105">
                  <c:v>11074.877508179043</c:v>
                </c:pt>
                <c:pt idx="106">
                  <c:v>10882.242381785769</c:v>
                </c:pt>
                <c:pt idx="107">
                  <c:v>10689.513712989812</c:v>
                </c:pt>
                <c:pt idx="108">
                  <c:v>10496.999805791134</c:v>
                </c:pt>
                <c:pt idx="109">
                  <c:v>10304.976434519584</c:v>
                </c:pt>
                <c:pt idx="110">
                  <c:v>10113.69021224228</c:v>
                </c:pt>
                <c:pt idx="111">
                  <c:v>9923.361629071529</c:v>
                </c:pt>
                <c:pt idx="112">
                  <c:v>9734.1877720736393</c:v>
                </c:pt>
                <c:pt idx="113">
                  <c:v>9546.3447468654849</c:v>
                </c:pt>
                <c:pt idx="114">
                  <c:v>9359.989825699653</c:v>
                </c:pt>
                <c:pt idx="115">
                  <c:v>9175.2633487234507</c:v>
                </c:pt>
                <c:pt idx="116">
                  <c:v>8992.2904050442994</c:v>
                </c:pt>
                <c:pt idx="117">
                  <c:v>8811.1823189776806</c:v>
                </c:pt>
                <c:pt idx="118">
                  <c:v>8632.0379649301503</c:v>
                </c:pt>
                <c:pt idx="119">
                  <c:v>8454.9449321447137</c:v>
                </c:pt>
                <c:pt idx="120">
                  <c:v>8279.9805582433582</c:v>
                </c:pt>
                <c:pt idx="121">
                  <c:v>8107.2128482826047</c:v>
                </c:pt>
                <c:pt idx="122">
                  <c:v>7936.701293970641</c:v>
                </c:pt>
                <c:pt idx="123">
                  <c:v>7768.4976058159664</c:v>
                </c:pt>
                <c:pt idx="124">
                  <c:v>7602.6463692990101</c:v>
                </c:pt>
                <c:pt idx="125">
                  <c:v>7439.1856346759896</c:v>
                </c:pt>
                <c:pt idx="126">
                  <c:v>7278.1474487267014</c:v>
                </c:pt>
                <c:pt idx="127">
                  <c:v>7119.5583356283587</c:v>
                </c:pt>
                <c:pt idx="128">
                  <c:v>6963.4397331588161</c:v>
                </c:pt>
                <c:pt idx="129">
                  <c:v>6809.8083895867212</c:v>
                </c:pt>
                <c:pt idx="130">
                  <c:v>6658.6767258768996</c:v>
                </c:pt>
                <c:pt idx="131">
                  <c:v>6510.0531672116349</c:v>
                </c:pt>
                <c:pt idx="132">
                  <c:v>6363.942447288402</c:v>
                </c:pt>
                <c:pt idx="133">
                  <c:v>6220.3458883906142</c:v>
                </c:pt>
                <c:pt idx="134">
                  <c:v>6079.2616598290442</c:v>
                </c:pt>
                <c:pt idx="135">
                  <c:v>5940.6850170089601</c:v>
                </c:pt>
                <c:pt idx="136">
                  <c:v>5804.6085230835033</c:v>
                </c:pt>
                <c:pt idx="137">
                  <c:v>5671.0222549007694</c:v>
                </c:pt>
                <c:pt idx="138">
                  <c:v>5539.9139947345457</c:v>
                </c:pt>
                <c:pt idx="139">
                  <c:v>5411.2694091014473</c:v>
                </c:pt>
                <c:pt idx="140">
                  <c:v>5285.072215806259</c:v>
                </c:pt>
                <c:pt idx="141">
                  <c:v>5161.3043402186613</c:v>
                </c:pt>
                <c:pt idx="142">
                  <c:v>5039.9460616651231</c:v>
                </c:pt>
                <c:pt idx="143">
                  <c:v>4920.9761507168096</c:v>
                </c:pt>
                <c:pt idx="144">
                  <c:v>4804.3719980655906</c:v>
                </c:pt>
                <c:pt idx="145">
                  <c:v>4690.1097356035389</c:v>
                </c:pt>
                <c:pt idx="146">
                  <c:v>4578.1643502550887</c:v>
                </c:pt>
                <c:pt idx="147">
                  <c:v>4468.5097910536624</c:v>
                </c:pt>
                <c:pt idx="148">
                  <c:v>4361.1190699049157</c:v>
                </c:pt>
                <c:pt idx="149">
                  <c:v>4255.9643564357075</c:v>
                </c:pt>
                <c:pt idx="150">
                  <c:v>4153.017067290396</c:v>
                </c:pt>
                <c:pt idx="151" formatCode="#,##0">
                  <c:v>4052.2479502035376</c:v>
                </c:pt>
                <c:pt idx="152" formatCode="#,##0">
                  <c:v>3953.6271631495847</c:v>
                </c:pt>
                <c:pt idx="153" formatCode="#,##0">
                  <c:v>3857.1243488453674</c:v>
                </c:pt>
                <c:pt idx="154" formatCode="#,##0">
                  <c:v>3762.7087048593494</c:v>
                </c:pt>
                <c:pt idx="155" formatCode="#,##0">
                  <c:v>3670.3490495624683</c:v>
                </c:pt>
                <c:pt idx="156" formatCode="#,##0">
                  <c:v>3580.0138841385356</c:v>
                </c:pt>
                <c:pt idx="157" formatCode="#,##0">
                  <c:v>3491.6714508571886</c:v>
                </c:pt>
                <c:pt idx="158" formatCode="#,##0">
                  <c:v>3405.2897877991431</c:v>
                </c:pt>
                <c:pt idx="159" formatCode="#,##0">
                  <c:v>3320.8367802116381</c:v>
                </c:pt>
                <c:pt idx="160" formatCode="#,##0">
                  <c:v>3238.2802086613838</c:v>
                </c:pt>
                <c:pt idx="161" formatCode="#,##0">
                  <c:v>3157.5877941427698</c:v>
                </c:pt>
                <c:pt idx="162" formatCode="#,##0">
                  <c:v>3078.7272402904882</c:v>
                </c:pt>
                <c:pt idx="163" formatCode="#,##0">
                  <c:v>3001.6662728378628</c:v>
                </c:pt>
                <c:pt idx="164" formatCode="#,##0">
                  <c:v>2926.3726764550584</c:v>
                </c:pt>
                <c:pt idx="165" formatCode="#,##0">
                  <c:v>2852.8143290947587</c:v>
                </c:pt>
                <c:pt idx="166" formatCode="#,##0">
                  <c:v>2780.9592339668447</c:v>
                </c:pt>
                <c:pt idx="167" formatCode="#,##0">
                  <c:v>2710.7755492580272</c:v>
                </c:pt>
                <c:pt idx="168" formatCode="#,##0">
                  <c:v>2642.2316157071173</c:v>
                </c:pt>
                <c:pt idx="169" formatCode="#,##0">
                  <c:v>2575.2959821417821</c:v>
                </c:pt>
                <c:pt idx="170" formatCode="#,##0">
                  <c:v>2509.9374290780111</c:v>
                </c:pt>
                <c:pt idx="171" formatCode="#,##0">
                  <c:v>2446.1249904791971</c:v>
                </c:pt>
                <c:pt idx="172" formatCode="#,##0">
                  <c:v>2383.8279737676639</c:v>
                </c:pt>
                <c:pt idx="173" formatCode="#,##0">
                  <c:v>2323.0159781775351</c:v>
                </c:pt>
                <c:pt idx="174" formatCode="#,##0">
                  <c:v>2263.6589115341962</c:v>
                </c:pt>
                <c:pt idx="175" formatCode="#,##0">
                  <c:v>2205.7270055419972</c:v>
                </c:pt>
                <c:pt idx="176" formatCode="#,##0">
                  <c:v>2149.190829658527</c:v>
                </c:pt>
                <c:pt idx="177" formatCode="#,##0">
                  <c:v>2094.0213036304749</c:v>
                </c:pt>
                <c:pt idx="178" formatCode="#,##0">
                  <c:v>2040.1897087630277</c:v>
                </c:pt>
                <c:pt idx="179" formatCode="#,##0">
                  <c:v>1987.667697991727</c:v>
                </c:pt>
                <c:pt idx="180" formatCode="#,##0">
                  <c:v>1936.4273048228154</c:v>
                </c:pt>
                <c:pt idx="181" formatCode="#,##0">
                  <c:v>1886.4409512053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7D6-49D4-BBCA-40283A14DEDD}"/>
            </c:ext>
          </c:extLst>
        </c:ser>
        <c:ser>
          <c:idx val="2"/>
          <c:order val="3"/>
          <c:tx>
            <c:v>V3</c:v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val>
            <c:numRef>
              <c:f>Sheet1!$H$93:$H$274</c:f>
              <c:numCache>
                <c:formatCode>General</c:formatCode>
                <c:ptCount val="182"/>
                <c:pt idx="88" formatCode="#,##0">
                  <c:v>12384.255429978144</c:v>
                </c:pt>
                <c:pt idx="89" formatCode="#,##0">
                  <c:v>12381.738495540094</c:v>
                </c:pt>
                <c:pt idx="90" formatCode="#,##0">
                  <c:v>12305.469843726962</c:v>
                </c:pt>
                <c:pt idx="91" formatCode="#,##0">
                  <c:v>12188.82353865699</c:v>
                </c:pt>
                <c:pt idx="92" formatCode="#,##0">
                  <c:v>12048.336460701657</c:v>
                </c:pt>
                <c:pt idx="93" formatCode="#,##0">
                  <c:v>11892.419536044787</c:v>
                </c:pt>
                <c:pt idx="94" formatCode="#,##0">
                  <c:v>11725.337532383628</c:v>
                </c:pt>
                <c:pt idx="95" formatCode="#,##0">
                  <c:v>11549.732364132808</c:v>
                </c:pt>
                <c:pt idx="96" formatCode="#,##0">
                  <c:v>11368.184119566578</c:v>
                </c:pt>
                <c:pt idx="97" formatCode="#,##0">
                  <c:v>11182.388903323426</c:v>
                </c:pt>
                <c:pt idx="98" formatCode="#,##0">
                  <c:v>10992.446750536743</c:v>
                </c:pt>
                <c:pt idx="99" formatCode="#,##0">
                  <c:v>10798.254563455468</c:v>
                </c:pt>
                <c:pt idx="100" formatCode="#,##0">
                  <c:v>10599.929503923397</c:v>
                </c:pt>
                <c:pt idx="101" formatCode="#,##0">
                  <c:v>10397.78209807549</c:v>
                </c:pt>
                <c:pt idx="102" formatCode="#,##0">
                  <c:v>10192.570969851162</c:v>
                </c:pt>
                <c:pt idx="103" formatCode="#,##0">
                  <c:v>9985.9146241609851</c:v>
                </c:pt>
                <c:pt idx="104" formatCode="#,##0">
                  <c:v>9778.9121406780287</c:v>
                </c:pt>
                <c:pt idx="105" formatCode="#,##0">
                  <c:v>9571.3725769656448</c:v>
                </c:pt>
                <c:pt idx="106" formatCode="#,##0">
                  <c:v>9363.0780046187883</c:v>
                </c:pt>
                <c:pt idx="107" formatCode="#,##0">
                  <c:v>9153.9058971181184</c:v>
                </c:pt>
                <c:pt idx="108" formatCode="#,##0">
                  <c:v>8943.8612066982005</c:v>
                </c:pt>
                <c:pt idx="109" formatCode="#,##0">
                  <c:v>8733.4826071830303</c:v>
                </c:pt>
                <c:pt idx="110" formatCode="#,##0">
                  <c:v>8524.2805747821403</c:v>
                </c:pt>
                <c:pt idx="111" formatCode="#,##0">
                  <c:v>8317.3851737700406</c:v>
                </c:pt>
                <c:pt idx="112" formatCode="#,##0">
                  <c:v>8112.739096901033</c:v>
                </c:pt>
                <c:pt idx="113" formatCode="#,##0">
                  <c:v>7909.927352430961</c:v>
                </c:pt>
                <c:pt idx="114" formatCode="#,##0">
                  <c:v>7708.9144896136586</c:v>
                </c:pt>
                <c:pt idx="115" formatCode="#,##0">
                  <c:v>7509.7857886288766</c:v>
                </c:pt>
                <c:pt idx="116" formatCode="#,##0">
                  <c:v>7312.8031151383575</c:v>
                </c:pt>
                <c:pt idx="117" formatCode="#,##0">
                  <c:v>7118.9528990941071</c:v>
                </c:pt>
                <c:pt idx="118" formatCode="#,##0">
                  <c:v>6929.0458682360886</c:v>
                </c:pt>
                <c:pt idx="119" formatCode="#,##0">
                  <c:v>6742.8497714274572</c:v>
                </c:pt>
                <c:pt idx="120" formatCode="#,##0">
                  <c:v>6560.1632156124761</c:v>
                </c:pt>
                <c:pt idx="121" formatCode="#,##0">
                  <c:v>6380.8665114722608</c:v>
                </c:pt>
                <c:pt idx="122" formatCode="#,##0">
                  <c:v>6204.9209476599099</c:v>
                </c:pt>
                <c:pt idx="123" formatCode="#,##0">
                  <c:v>6032.350733621276</c:v>
                </c:pt>
                <c:pt idx="124" formatCode="#,##0">
                  <c:v>5863.7071431953927</c:v>
                </c:pt>
                <c:pt idx="125" formatCode="#,##0">
                  <c:v>5699.3104253141364</c:v>
                </c:pt>
                <c:pt idx="126" formatCode="#,##0">
                  <c:v>5538.8605473874723</c:v>
                </c:pt>
                <c:pt idx="127" formatCode="#,##0">
                  <c:v>5382.0056795178034</c:v>
                </c:pt>
                <c:pt idx="128" formatCode="#,##0">
                  <c:v>5228.5828147970387</c:v>
                </c:pt>
                <c:pt idx="129" formatCode="#,##0">
                  <c:v>5078.472171521812</c:v>
                </c:pt>
                <c:pt idx="130" formatCode="#,##0">
                  <c:v>4931.2859269107666</c:v>
                </c:pt>
                <c:pt idx="131" formatCode="#,##0">
                  <c:v>4786.8400647836488</c:v>
                </c:pt>
                <c:pt idx="132" formatCode="#,##0">
                  <c:v>4645.0658134591567</c:v>
                </c:pt>
                <c:pt idx="133" formatCode="#,##0">
                  <c:v>4505.9570592995324</c:v>
                </c:pt>
                <c:pt idx="134" formatCode="#,##0">
                  <c:v>4369.5391905155029</c:v>
                </c:pt>
                <c:pt idx="135" formatCode="#,##0">
                  <c:v>4235.850782959873</c:v>
                </c:pt>
                <c:pt idx="136" formatCode="#,##0">
                  <c:v>4104.9330139377107</c:v>
                </c:pt>
                <c:pt idx="137" formatCode="#,##0">
                  <c:v>3976.8237353467121</c:v>
                </c:pt>
                <c:pt idx="138" formatCode="#,##0">
                  <c:v>3851.5543523439878</c:v>
                </c:pt>
                <c:pt idx="139" formatCode="#,##0">
                  <c:v>3729.1873464644714</c:v>
                </c:pt>
                <c:pt idx="140" formatCode="#,##0">
                  <c:v>3609.7547346826841</c:v>
                </c:pt>
                <c:pt idx="141" formatCode="#,##0">
                  <c:v>3493.2671870488753</c:v>
                </c:pt>
                <c:pt idx="142" formatCode="#,##0">
                  <c:v>3379.7201969371345</c:v>
                </c:pt>
                <c:pt idx="143" formatCode="#,##0">
                  <c:v>3269.0982845634344</c:v>
                </c:pt>
                <c:pt idx="144" formatCode="#,##0">
                  <c:v>3161.4788453360129</c:v>
                </c:pt>
                <c:pt idx="145" formatCode="#,##0">
                  <c:v>3056.8756506496816</c:v>
                </c:pt>
                <c:pt idx="146" formatCode="#,##0">
                  <c:v>2955.263682521128</c:v>
                </c:pt>
                <c:pt idx="147" formatCode="#,##0">
                  <c:v>2856.5950830364159</c:v>
                </c:pt>
                <c:pt idx="148" formatCode="#,##0">
                  <c:v>2760.8092849306327</c:v>
                </c:pt>
                <c:pt idx="149" formatCode="#,##0">
                  <c:v>2667.8393428623863</c:v>
                </c:pt>
                <c:pt idx="150" formatCode="#,##0">
                  <c:v>2577.6157983374615</c:v>
                </c:pt>
                <c:pt idx="151" formatCode="#,##0">
                  <c:v>2490.0689580300646</c:v>
                </c:pt>
                <c:pt idx="152" formatCode="#,##0">
                  <c:v>2405.1301648471999</c:v>
                </c:pt>
                <c:pt idx="153" formatCode="#,##0">
                  <c:v>2322.7324415182925</c:v>
                </c:pt>
                <c:pt idx="154" formatCode="#,##0">
                  <c:v>2242.8107538731028</c:v>
                </c:pt>
                <c:pt idx="155" formatCode="#,##0">
                  <c:v>2165.3020529749319</c:v>
                </c:pt>
                <c:pt idx="156" formatCode="#,##0">
                  <c:v>2090.1451970928133</c:v>
                </c:pt>
                <c:pt idx="157" formatCode="#,##0">
                  <c:v>2017.2808162434233</c:v>
                </c:pt>
                <c:pt idx="158" formatCode="#,##0">
                  <c:v>1946.6511570911789</c:v>
                </c:pt>
                <c:pt idx="159" formatCode="#,##0">
                  <c:v>1876.7764437657638</c:v>
                </c:pt>
                <c:pt idx="160" formatCode="#,##0">
                  <c:v>1806.9948930583569</c:v>
                </c:pt>
                <c:pt idx="161" formatCode="#,##0">
                  <c:v>1737.1294337300574</c:v>
                </c:pt>
                <c:pt idx="162" formatCode="#,##0">
                  <c:v>1667.2344082769919</c:v>
                </c:pt>
                <c:pt idx="163" formatCode="#,##0">
                  <c:v>1597.632388162375</c:v>
                </c:pt>
                <c:pt idx="164" formatCode="#,##0">
                  <c:v>1528.6142668625741</c:v>
                </c:pt>
                <c:pt idx="165" formatCode="#,##0">
                  <c:v>1460.4380239323395</c:v>
                </c:pt>
                <c:pt idx="166" formatCode="#,##0">
                  <c:v>1393.3302245246157</c:v>
                </c:pt>
                <c:pt idx="167" formatCode="#,##0">
                  <c:v>1327.4883564475529</c:v>
                </c:pt>
                <c:pt idx="168" formatCode="#,##0">
                  <c:v>1263.3138355689778</c:v>
                </c:pt>
                <c:pt idx="169" formatCode="#,##0">
                  <c:v>1201.0440251995058</c:v>
                </c:pt>
                <c:pt idx="170" formatCode="#,##0">
                  <c:v>1140.8128591460841</c:v>
                </c:pt>
                <c:pt idx="171" formatCode="#,##0">
                  <c:v>1082.6891558147577</c:v>
                </c:pt>
                <c:pt idx="172" formatCode="#,##0">
                  <c:v>1026.7007613243163</c:v>
                </c:pt>
                <c:pt idx="173" formatCode="#,##0">
                  <c:v>972.84968294209114</c:v>
                </c:pt>
                <c:pt idx="174" formatCode="#,##0">
                  <c:v>921.12150496045706</c:v>
                </c:pt>
                <c:pt idx="175" formatCode="#,##0">
                  <c:v>871.64745552548391</c:v>
                </c:pt>
                <c:pt idx="176" formatCode="#,##0">
                  <c:v>824.76256741152724</c:v>
                </c:pt>
                <c:pt idx="177" formatCode="#,##0">
                  <c:v>780.55320998582943</c:v>
                </c:pt>
                <c:pt idx="178" formatCode="#,##0">
                  <c:v>738.96800632447344</c:v>
                </c:pt>
                <c:pt idx="179" formatCode="#,##0">
                  <c:v>699.88390304256825</c:v>
                </c:pt>
                <c:pt idx="180" formatCode="#,##0">
                  <c:v>663.14514194385958</c:v>
                </c:pt>
                <c:pt idx="181" formatCode="#,##0">
                  <c:v>628.585809725056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B8C-45EE-A9B5-86164ED9BF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  <a:prstDash val="sysDash"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6739193507083425"/>
        </c:manualLayout>
      </c:layout>
      <c:barChart>
        <c:barDir val="col"/>
        <c:grouping val="clustered"/>
        <c:varyColors val="0"/>
        <c:ser>
          <c:idx val="5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257</c:v>
                </c:pt>
                <c:pt idx="1">
                  <c:v>8439</c:v>
                </c:pt>
                <c:pt idx="2">
                  <c:v>8384</c:v>
                </c:pt>
                <c:pt idx="3">
                  <c:v>8389</c:v>
                </c:pt>
                <c:pt idx="4">
                  <c:v>8453</c:v>
                </c:pt>
                <c:pt idx="5">
                  <c:v>8109</c:v>
                </c:pt>
                <c:pt idx="6">
                  <c:v>8333</c:v>
                </c:pt>
                <c:pt idx="7">
                  <c:v>9008</c:v>
                </c:pt>
                <c:pt idx="8">
                  <c:v>8983</c:v>
                </c:pt>
                <c:pt idx="9">
                  <c:v>9004</c:v>
                </c:pt>
                <c:pt idx="10">
                  <c:v>8966</c:v>
                </c:pt>
                <c:pt idx="11">
                  <c:v>8934</c:v>
                </c:pt>
                <c:pt idx="12">
                  <c:v>8533</c:v>
                </c:pt>
                <c:pt idx="13">
                  <c:v>8747</c:v>
                </c:pt>
                <c:pt idx="14">
                  <c:v>9463</c:v>
                </c:pt>
                <c:pt idx="15">
                  <c:v>9331</c:v>
                </c:pt>
                <c:pt idx="16">
                  <c:v>9162</c:v>
                </c:pt>
                <c:pt idx="17">
                  <c:v>8957</c:v>
                </c:pt>
                <c:pt idx="18">
                  <c:v>8767</c:v>
                </c:pt>
                <c:pt idx="19">
                  <c:v>8208</c:v>
                </c:pt>
                <c:pt idx="20">
                  <c:v>8322</c:v>
                </c:pt>
                <c:pt idx="21">
                  <c:v>8958</c:v>
                </c:pt>
                <c:pt idx="22">
                  <c:v>8626</c:v>
                </c:pt>
                <c:pt idx="23">
                  <c:v>8310</c:v>
                </c:pt>
                <c:pt idx="24">
                  <c:v>8155</c:v>
                </c:pt>
                <c:pt idx="25">
                  <c:v>8031</c:v>
                </c:pt>
                <c:pt idx="26">
                  <c:v>7509</c:v>
                </c:pt>
                <c:pt idx="27">
                  <c:v>7558</c:v>
                </c:pt>
                <c:pt idx="28">
                  <c:v>8097</c:v>
                </c:pt>
                <c:pt idx="29">
                  <c:v>7828</c:v>
                </c:pt>
                <c:pt idx="30">
                  <c:v>7509</c:v>
                </c:pt>
                <c:pt idx="31">
                  <c:v>7204</c:v>
                </c:pt>
                <c:pt idx="32">
                  <c:v>6378</c:v>
                </c:pt>
                <c:pt idx="33">
                  <c:v>6227</c:v>
                </c:pt>
                <c:pt idx="34">
                  <c:v>6323</c:v>
                </c:pt>
                <c:pt idx="35">
                  <c:v>6392</c:v>
                </c:pt>
                <c:pt idx="36">
                  <c:v>7068</c:v>
                </c:pt>
                <c:pt idx="37">
                  <c:v>6709</c:v>
                </c:pt>
                <c:pt idx="38">
                  <c:v>6236</c:v>
                </c:pt>
                <c:pt idx="39">
                  <c:v>5916</c:v>
                </c:pt>
                <c:pt idx="40">
                  <c:v>5280</c:v>
                </c:pt>
                <c:pt idx="41">
                  <c:v>5236</c:v>
                </c:pt>
                <c:pt idx="42">
                  <c:v>5530</c:v>
                </c:pt>
                <c:pt idx="43">
                  <c:v>5223</c:v>
                </c:pt>
                <c:pt idx="44">
                  <c:v>4926</c:v>
                </c:pt>
                <c:pt idx="45">
                  <c:v>4667</c:v>
                </c:pt>
                <c:pt idx="46">
                  <c:v>4424</c:v>
                </c:pt>
                <c:pt idx="47">
                  <c:v>4023</c:v>
                </c:pt>
                <c:pt idx="48">
                  <c:v>4032</c:v>
                </c:pt>
                <c:pt idx="49">
                  <c:v>4305</c:v>
                </c:pt>
                <c:pt idx="50">
                  <c:v>4130</c:v>
                </c:pt>
                <c:pt idx="51">
                  <c:v>3963</c:v>
                </c:pt>
                <c:pt idx="52">
                  <c:v>3735</c:v>
                </c:pt>
                <c:pt idx="53">
                  <c:v>3521</c:v>
                </c:pt>
                <c:pt idx="54">
                  <c:v>3125</c:v>
                </c:pt>
                <c:pt idx="55">
                  <c:v>3134</c:v>
                </c:pt>
                <c:pt idx="56">
                  <c:v>3198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8A-446E-9AD8-958D146303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7346.4879573838834</c:v>
                </c:pt>
                <c:pt idx="32">
                  <c:v>7170.0064377452973</c:v>
                </c:pt>
                <c:pt idx="33">
                  <c:v>6989.7877903759017</c:v>
                </c:pt>
                <c:pt idx="34">
                  <c:v>6815.2995642743736</c:v>
                </c:pt>
                <c:pt idx="35">
                  <c:v>6643.7396875911763</c:v>
                </c:pt>
                <c:pt idx="36">
                  <c:v>6471.8590522637969</c:v>
                </c:pt>
                <c:pt idx="37">
                  <c:v>6301.9657010734736</c:v>
                </c:pt>
                <c:pt idx="38">
                  <c:v>6130.7964568235693</c:v>
                </c:pt>
                <c:pt idx="39">
                  <c:v>5955.6341215840475</c:v>
                </c:pt>
                <c:pt idx="40">
                  <c:v>5779.1811987865312</c:v>
                </c:pt>
                <c:pt idx="41">
                  <c:v>5603.0466812152017</c:v>
                </c:pt>
                <c:pt idx="42">
                  <c:v>5424.4975767620335</c:v>
                </c:pt>
                <c:pt idx="43">
                  <c:v>5242.6157862713262</c:v>
                </c:pt>
                <c:pt idx="44">
                  <c:v>5059.6774939008719</c:v>
                </c:pt>
                <c:pt idx="45">
                  <c:v>4876.989409061167</c:v>
                </c:pt>
                <c:pt idx="46">
                  <c:v>4696.2160513404879</c:v>
                </c:pt>
                <c:pt idx="47">
                  <c:v>4518.0856342378856</c:v>
                </c:pt>
                <c:pt idx="48">
                  <c:v>4342.538385775586</c:v>
                </c:pt>
                <c:pt idx="49">
                  <c:v>4168.230104141684</c:v>
                </c:pt>
                <c:pt idx="50">
                  <c:v>3996.1161037365364</c:v>
                </c:pt>
                <c:pt idx="51">
                  <c:v>3828.035495509002</c:v>
                </c:pt>
                <c:pt idx="52">
                  <c:v>3664.4067003691898</c:v>
                </c:pt>
                <c:pt idx="53">
                  <c:v>3505.8406400109211</c:v>
                </c:pt>
                <c:pt idx="54">
                  <c:v>3352.1608032909389</c:v>
                </c:pt>
                <c:pt idx="55">
                  <c:v>3203.816005256851</c:v>
                </c:pt>
                <c:pt idx="56">
                  <c:v>3060.3014328954155</c:v>
                </c:pt>
                <c:pt idx="57">
                  <c:v>2921.9641476191214</c:v>
                </c:pt>
                <c:pt idx="58">
                  <c:v>2788.7865861819605</c:v>
                </c:pt>
                <c:pt idx="59">
                  <c:v>2660.5743671930536</c:v>
                </c:pt>
                <c:pt idx="60">
                  <c:v>2537.61339141343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B8A-446E-9AD8-958D146303A4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7359.1487400988754</c:v>
                </c:pt>
                <c:pt idx="32">
                  <c:v>7205.0885308419947</c:v>
                </c:pt>
                <c:pt idx="33">
                  <c:v>7053.3694681235784</c:v>
                </c:pt>
                <c:pt idx="34">
                  <c:v>6911.0531346519101</c:v>
                </c:pt>
                <c:pt idx="35">
                  <c:v>6776.1091415651281</c:v>
                </c:pt>
                <c:pt idx="36">
                  <c:v>6646.1347401229223</c:v>
                </c:pt>
                <c:pt idx="37">
                  <c:v>6523.895107159472</c:v>
                </c:pt>
                <c:pt idx="38">
                  <c:v>6406.2383290128155</c:v>
                </c:pt>
                <c:pt idx="39">
                  <c:v>6288.142417912637</c:v>
                </c:pt>
                <c:pt idx="40">
                  <c:v>6170.9172249777539</c:v>
                </c:pt>
                <c:pt idx="41">
                  <c:v>6055.4780215670071</c:v>
                </c:pt>
                <c:pt idx="42">
                  <c:v>5938.7968252177707</c:v>
                </c:pt>
                <c:pt idx="43">
                  <c:v>5819.3191674173222</c:v>
                </c:pt>
                <c:pt idx="44">
                  <c:v>5698.6855597230287</c:v>
                </c:pt>
                <c:pt idx="45">
                  <c:v>5577.4418957254657</c:v>
                </c:pt>
                <c:pt idx="46">
                  <c:v>5456.3998734071538</c:v>
                </c:pt>
                <c:pt idx="47">
                  <c:v>5335.9384743855671</c:v>
                </c:pt>
                <c:pt idx="48">
                  <c:v>5215.7856838108237</c:v>
                </c:pt>
                <c:pt idx="49">
                  <c:v>5094.4383769703891</c:v>
                </c:pt>
                <c:pt idx="50">
                  <c:v>4972.623913851663</c:v>
                </c:pt>
                <c:pt idx="51">
                  <c:v>4851.8472203581823</c:v>
                </c:pt>
                <c:pt idx="52">
                  <c:v>4732.3085922125483</c:v>
                </c:pt>
                <c:pt idx="53">
                  <c:v>4614.4749860336451</c:v>
                </c:pt>
                <c:pt idx="54">
                  <c:v>4498.2354309702605</c:v>
                </c:pt>
                <c:pt idx="55">
                  <c:v>4384.1393230382091</c:v>
                </c:pt>
                <c:pt idx="56">
                  <c:v>4271.6854349783744</c:v>
                </c:pt>
                <c:pt idx="57">
                  <c:v>4161.2590118095832</c:v>
                </c:pt>
                <c:pt idx="58">
                  <c:v>4052.9094442847068</c:v>
                </c:pt>
                <c:pt idx="59">
                  <c:v>3946.5181470008201</c:v>
                </c:pt>
                <c:pt idx="60">
                  <c:v>3842.50960443031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8A-446E-9AD8-958D146303A4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7371.80952281387</c:v>
                </c:pt>
                <c:pt idx="32">
                  <c:v>7240.2104377208161</c:v>
                </c:pt>
                <c:pt idx="33">
                  <c:v>7117.0779933943268</c:v>
                </c:pt>
                <c:pt idx="34">
                  <c:v>7006.9896895826942</c:v>
                </c:pt>
                <c:pt idx="35">
                  <c:v>6909.3497764030908</c:v>
                </c:pt>
                <c:pt idx="36">
                  <c:v>6823.0439394995847</c:v>
                </c:pt>
                <c:pt idx="37">
                  <c:v>6751.6569816162273</c:v>
                </c:pt>
                <c:pt idx="38">
                  <c:v>6692.3068667328498</c:v>
                </c:pt>
                <c:pt idx="39">
                  <c:v>6637.5106256231893</c:v>
                </c:pt>
                <c:pt idx="40">
                  <c:v>6587.0938183800581</c:v>
                </c:pt>
                <c:pt idx="41">
                  <c:v>6541.5941291713798</c:v>
                </c:pt>
                <c:pt idx="42">
                  <c:v>6498.1469237986676</c:v>
                </c:pt>
                <c:pt idx="43">
                  <c:v>6454.8632429166037</c:v>
                </c:pt>
                <c:pt idx="44">
                  <c:v>6412.5304278255144</c:v>
                </c:pt>
                <c:pt idx="45">
                  <c:v>6370.8005267828094</c:v>
                </c:pt>
                <c:pt idx="46">
                  <c:v>6329.613770872741</c:v>
                </c:pt>
                <c:pt idx="47">
                  <c:v>6288.9917878197111</c:v>
                </c:pt>
                <c:pt idx="48">
                  <c:v>6248.561465378255</c:v>
                </c:pt>
                <c:pt idx="49">
                  <c:v>6206.6689206612764</c:v>
                </c:pt>
                <c:pt idx="50">
                  <c:v>6163.518700866417</c:v>
                </c:pt>
                <c:pt idx="51">
                  <c:v>6120.1656733168611</c:v>
                </c:pt>
                <c:pt idx="52">
                  <c:v>6076.5031273307877</c:v>
                </c:pt>
                <c:pt idx="53">
                  <c:v>6032.8033107301353</c:v>
                </c:pt>
                <c:pt idx="54">
                  <c:v>5988.9062310083582</c:v>
                </c:pt>
                <c:pt idx="55">
                  <c:v>5945.3046391626867</c:v>
                </c:pt>
                <c:pt idx="56">
                  <c:v>5901.4128922168784</c:v>
                </c:pt>
                <c:pt idx="57">
                  <c:v>5857.4566871165125</c:v>
                </c:pt>
                <c:pt idx="58">
                  <c:v>5813.4209416048061</c:v>
                </c:pt>
                <c:pt idx="59">
                  <c:v>5769.1524804969513</c:v>
                </c:pt>
                <c:pt idx="60">
                  <c:v>5725.07866728081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B8A-446E-9AD8-958D146303A4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156</c:v>
                </c:pt>
                <c:pt idx="1">
                  <c:v>8156</c:v>
                </c:pt>
                <c:pt idx="2">
                  <c:v>8156</c:v>
                </c:pt>
                <c:pt idx="3">
                  <c:v>8156</c:v>
                </c:pt>
                <c:pt idx="4">
                  <c:v>8156</c:v>
                </c:pt>
                <c:pt idx="5">
                  <c:v>8156</c:v>
                </c:pt>
                <c:pt idx="6">
                  <c:v>8156</c:v>
                </c:pt>
                <c:pt idx="7">
                  <c:v>8156</c:v>
                </c:pt>
                <c:pt idx="8">
                  <c:v>8156</c:v>
                </c:pt>
                <c:pt idx="9">
                  <c:v>8156</c:v>
                </c:pt>
                <c:pt idx="10">
                  <c:v>8156</c:v>
                </c:pt>
                <c:pt idx="11">
                  <c:v>8156</c:v>
                </c:pt>
                <c:pt idx="12">
                  <c:v>8156</c:v>
                </c:pt>
                <c:pt idx="13">
                  <c:v>8156</c:v>
                </c:pt>
                <c:pt idx="14">
                  <c:v>8156</c:v>
                </c:pt>
                <c:pt idx="15">
                  <c:v>8156</c:v>
                </c:pt>
                <c:pt idx="16">
                  <c:v>8156</c:v>
                </c:pt>
                <c:pt idx="17">
                  <c:v>8156</c:v>
                </c:pt>
                <c:pt idx="18">
                  <c:v>8156</c:v>
                </c:pt>
                <c:pt idx="19">
                  <c:v>8156</c:v>
                </c:pt>
                <c:pt idx="20">
                  <c:v>8156</c:v>
                </c:pt>
                <c:pt idx="21">
                  <c:v>8156</c:v>
                </c:pt>
                <c:pt idx="22">
                  <c:v>8156</c:v>
                </c:pt>
                <c:pt idx="23">
                  <c:v>8156</c:v>
                </c:pt>
                <c:pt idx="24">
                  <c:v>8156</c:v>
                </c:pt>
                <c:pt idx="25">
                  <c:v>8156</c:v>
                </c:pt>
                <c:pt idx="26">
                  <c:v>8156</c:v>
                </c:pt>
                <c:pt idx="27">
                  <c:v>8156</c:v>
                </c:pt>
                <c:pt idx="28">
                  <c:v>8156</c:v>
                </c:pt>
                <c:pt idx="29">
                  <c:v>8156</c:v>
                </c:pt>
                <c:pt idx="30">
                  <c:v>8156</c:v>
                </c:pt>
                <c:pt idx="31">
                  <c:v>8156</c:v>
                </c:pt>
                <c:pt idx="32">
                  <c:v>8156</c:v>
                </c:pt>
                <c:pt idx="33">
                  <c:v>8156</c:v>
                </c:pt>
                <c:pt idx="34">
                  <c:v>8156</c:v>
                </c:pt>
                <c:pt idx="35">
                  <c:v>8156</c:v>
                </c:pt>
                <c:pt idx="36">
                  <c:v>8156</c:v>
                </c:pt>
                <c:pt idx="37">
                  <c:v>8156</c:v>
                </c:pt>
                <c:pt idx="38">
                  <c:v>8156</c:v>
                </c:pt>
                <c:pt idx="39">
                  <c:v>8156</c:v>
                </c:pt>
                <c:pt idx="40">
                  <c:v>8156</c:v>
                </c:pt>
                <c:pt idx="41">
                  <c:v>8156</c:v>
                </c:pt>
                <c:pt idx="42">
                  <c:v>8156</c:v>
                </c:pt>
                <c:pt idx="43">
                  <c:v>8156</c:v>
                </c:pt>
                <c:pt idx="44">
                  <c:v>8156</c:v>
                </c:pt>
                <c:pt idx="45">
                  <c:v>8156</c:v>
                </c:pt>
                <c:pt idx="46">
                  <c:v>8156</c:v>
                </c:pt>
                <c:pt idx="47">
                  <c:v>8156</c:v>
                </c:pt>
                <c:pt idx="48">
                  <c:v>8156</c:v>
                </c:pt>
                <c:pt idx="49">
                  <c:v>8156</c:v>
                </c:pt>
                <c:pt idx="50">
                  <c:v>8156</c:v>
                </c:pt>
                <c:pt idx="51">
                  <c:v>8156</c:v>
                </c:pt>
                <c:pt idx="52">
                  <c:v>8156</c:v>
                </c:pt>
                <c:pt idx="53">
                  <c:v>8156</c:v>
                </c:pt>
                <c:pt idx="54">
                  <c:v>8156</c:v>
                </c:pt>
                <c:pt idx="55">
                  <c:v>8156</c:v>
                </c:pt>
                <c:pt idx="56">
                  <c:v>8156</c:v>
                </c:pt>
                <c:pt idx="57">
                  <c:v>8156</c:v>
                </c:pt>
                <c:pt idx="58">
                  <c:v>8156</c:v>
                </c:pt>
                <c:pt idx="59">
                  <c:v>8156</c:v>
                </c:pt>
                <c:pt idx="60">
                  <c:v>81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B8A-446E-9AD8-958D146303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6312</c:v>
                </c:pt>
                <c:pt idx="1">
                  <c:v>6344</c:v>
                </c:pt>
                <c:pt idx="2">
                  <c:v>6428</c:v>
                </c:pt>
                <c:pt idx="3">
                  <c:v>6525</c:v>
                </c:pt>
                <c:pt idx="4">
                  <c:v>6544</c:v>
                </c:pt>
                <c:pt idx="5">
                  <c:v>6145</c:v>
                </c:pt>
                <c:pt idx="6">
                  <c:v>6352</c:v>
                </c:pt>
                <c:pt idx="7">
                  <c:v>7048</c:v>
                </c:pt>
                <c:pt idx="8">
                  <c:v>7079</c:v>
                </c:pt>
                <c:pt idx="9">
                  <c:v>7171</c:v>
                </c:pt>
                <c:pt idx="10">
                  <c:v>7385</c:v>
                </c:pt>
                <c:pt idx="11">
                  <c:v>7482</c:v>
                </c:pt>
                <c:pt idx="12">
                  <c:v>7187</c:v>
                </c:pt>
                <c:pt idx="13">
                  <c:v>7451</c:v>
                </c:pt>
                <c:pt idx="14">
                  <c:v>8257</c:v>
                </c:pt>
                <c:pt idx="15">
                  <c:v>8439</c:v>
                </c:pt>
                <c:pt idx="16">
                  <c:v>8384</c:v>
                </c:pt>
                <c:pt idx="17">
                  <c:v>8389</c:v>
                </c:pt>
                <c:pt idx="18">
                  <c:v>8453</c:v>
                </c:pt>
                <c:pt idx="19">
                  <c:v>8109</c:v>
                </c:pt>
                <c:pt idx="20">
                  <c:v>8333</c:v>
                </c:pt>
                <c:pt idx="21">
                  <c:v>9008</c:v>
                </c:pt>
                <c:pt idx="22">
                  <c:v>8983</c:v>
                </c:pt>
                <c:pt idx="23">
                  <c:v>9004</c:v>
                </c:pt>
                <c:pt idx="24">
                  <c:v>8966</c:v>
                </c:pt>
                <c:pt idx="25">
                  <c:v>8934</c:v>
                </c:pt>
                <c:pt idx="26">
                  <c:v>8533</c:v>
                </c:pt>
                <c:pt idx="27">
                  <c:v>8747</c:v>
                </c:pt>
                <c:pt idx="28">
                  <c:v>9463</c:v>
                </c:pt>
                <c:pt idx="29">
                  <c:v>9331</c:v>
                </c:pt>
                <c:pt idx="30">
                  <c:v>9162</c:v>
                </c:pt>
                <c:pt idx="31">
                  <c:v>8957</c:v>
                </c:pt>
                <c:pt idx="32">
                  <c:v>8767</c:v>
                </c:pt>
                <c:pt idx="33">
                  <c:v>8208</c:v>
                </c:pt>
                <c:pt idx="34">
                  <c:v>8322</c:v>
                </c:pt>
                <c:pt idx="35">
                  <c:v>8958</c:v>
                </c:pt>
                <c:pt idx="36">
                  <c:v>8626</c:v>
                </c:pt>
                <c:pt idx="37">
                  <c:v>8310</c:v>
                </c:pt>
                <c:pt idx="38">
                  <c:v>8155</c:v>
                </c:pt>
                <c:pt idx="39">
                  <c:v>8031</c:v>
                </c:pt>
                <c:pt idx="40">
                  <c:v>7509</c:v>
                </c:pt>
                <c:pt idx="41">
                  <c:v>7558</c:v>
                </c:pt>
                <c:pt idx="42">
                  <c:v>8097</c:v>
                </c:pt>
                <c:pt idx="43">
                  <c:v>7828</c:v>
                </c:pt>
                <c:pt idx="44">
                  <c:v>7509</c:v>
                </c:pt>
                <c:pt idx="45">
                  <c:v>7204</c:v>
                </c:pt>
                <c:pt idx="46">
                  <c:v>6378</c:v>
                </c:pt>
                <c:pt idx="47">
                  <c:v>6227</c:v>
                </c:pt>
                <c:pt idx="48">
                  <c:v>6323</c:v>
                </c:pt>
                <c:pt idx="49">
                  <c:v>6392</c:v>
                </c:pt>
                <c:pt idx="50">
                  <c:v>7068</c:v>
                </c:pt>
                <c:pt idx="51">
                  <c:v>6709</c:v>
                </c:pt>
                <c:pt idx="52">
                  <c:v>6236</c:v>
                </c:pt>
                <c:pt idx="53">
                  <c:v>5916</c:v>
                </c:pt>
                <c:pt idx="54">
                  <c:v>5280</c:v>
                </c:pt>
                <c:pt idx="55">
                  <c:v>5236</c:v>
                </c:pt>
                <c:pt idx="56">
                  <c:v>5530</c:v>
                </c:pt>
                <c:pt idx="57">
                  <c:v>5223</c:v>
                </c:pt>
                <c:pt idx="58">
                  <c:v>4926</c:v>
                </c:pt>
                <c:pt idx="59">
                  <c:v>4667</c:v>
                </c:pt>
                <c:pt idx="60">
                  <c:v>4424</c:v>
                </c:pt>
                <c:pt idx="61">
                  <c:v>4023</c:v>
                </c:pt>
                <c:pt idx="62">
                  <c:v>4032</c:v>
                </c:pt>
                <c:pt idx="63">
                  <c:v>4305</c:v>
                </c:pt>
                <c:pt idx="64">
                  <c:v>4130</c:v>
                </c:pt>
                <c:pt idx="65">
                  <c:v>3963</c:v>
                </c:pt>
                <c:pt idx="66">
                  <c:v>3735</c:v>
                </c:pt>
                <c:pt idx="67">
                  <c:v>3521</c:v>
                </c:pt>
                <c:pt idx="68">
                  <c:v>3125</c:v>
                </c:pt>
                <c:pt idx="69">
                  <c:v>3134</c:v>
                </c:pt>
                <c:pt idx="70">
                  <c:v>31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C$2:$C$107</c:f>
              <c:numCache>
                <c:formatCode>General</c:formatCode>
                <c:ptCount val="106"/>
                <c:pt idx="10">
                  <c:v>7426.8491842441945</c:v>
                </c:pt>
                <c:pt idx="11">
                  <c:v>7641.2885885599235</c:v>
                </c:pt>
                <c:pt idx="12">
                  <c:v>7858.7733974309403</c:v>
                </c:pt>
                <c:pt idx="13">
                  <c:v>8080.8756470241578</c:v>
                </c:pt>
                <c:pt idx="14">
                  <c:v>8303.7918340452834</c:v>
                </c:pt>
                <c:pt idx="15">
                  <c:v>8520.4495690051208</c:v>
                </c:pt>
                <c:pt idx="16">
                  <c:v>8729.2493516752984</c:v>
                </c:pt>
                <c:pt idx="17">
                  <c:v>8923.2127582981848</c:v>
                </c:pt>
                <c:pt idx="18">
                  <c:v>9094.9550504792642</c:v>
                </c:pt>
                <c:pt idx="19">
                  <c:v>9244.2984538285218</c:v>
                </c:pt>
                <c:pt idx="20">
                  <c:v>9371.4411388932676</c:v>
                </c:pt>
                <c:pt idx="21">
                  <c:v>9472.5884748683129</c:v>
                </c:pt>
                <c:pt idx="22">
                  <c:v>9546.1786250814639</c:v>
                </c:pt>
                <c:pt idx="23">
                  <c:v>9593.6506055808859</c:v>
                </c:pt>
                <c:pt idx="24">
                  <c:v>9617.2526729955462</c:v>
                </c:pt>
                <c:pt idx="25">
                  <c:v>9619.1771934930184</c:v>
                </c:pt>
                <c:pt idx="26">
                  <c:v>9600.5731324596945</c:v>
                </c:pt>
                <c:pt idx="27">
                  <c:v>9562.0426167209662</c:v>
                </c:pt>
                <c:pt idx="28">
                  <c:v>9503.5506228442719</c:v>
                </c:pt>
                <c:pt idx="29">
                  <c:v>9426.8062612804042</c:v>
                </c:pt>
                <c:pt idx="30">
                  <c:v>9333.9796280685005</c:v>
                </c:pt>
                <c:pt idx="31">
                  <c:v>9226.8100015593973</c:v>
                </c:pt>
                <c:pt idx="32">
                  <c:v>9106.5364321818051</c:v>
                </c:pt>
                <c:pt idx="33">
                  <c:v>8974.6868556154459</c:v>
                </c:pt>
                <c:pt idx="34">
                  <c:v>8833.0057791238651</c:v>
                </c:pt>
                <c:pt idx="35">
                  <c:v>8682.4813127953385</c:v>
                </c:pt>
                <c:pt idx="36">
                  <c:v>8524.4538241035316</c:v>
                </c:pt>
                <c:pt idx="37">
                  <c:v>8360.0207496982239</c:v>
                </c:pt>
                <c:pt idx="38">
                  <c:v>8190.0100184020584</c:v>
                </c:pt>
                <c:pt idx="39">
                  <c:v>8015.5164645318864</c:v>
                </c:pt>
                <c:pt idx="40">
                  <c:v>7837.5822790957545</c:v>
                </c:pt>
                <c:pt idx="41">
                  <c:v>7656.9110186796343</c:v>
                </c:pt>
                <c:pt idx="42">
                  <c:v>7474.1573623288295</c:v>
                </c:pt>
                <c:pt idx="43">
                  <c:v>7290.0887941771989</c:v>
                </c:pt>
                <c:pt idx="44">
                  <c:v>7105.2529061667101</c:v>
                </c:pt>
                <c:pt idx="45">
                  <c:v>6920.1492689128791</c:v>
                </c:pt>
                <c:pt idx="46">
                  <c:v>6735.342094785774</c:v>
                </c:pt>
                <c:pt idx="47">
                  <c:v>6551.1772442467136</c:v>
                </c:pt>
                <c:pt idx="48">
                  <c:v>6369.6818716982752</c:v>
                </c:pt>
                <c:pt idx="49">
                  <c:v>6191.14257632717</c:v>
                </c:pt>
                <c:pt idx="50">
                  <c:v>6015.6800914217065</c:v>
                </c:pt>
                <c:pt idx="51">
                  <c:v>5843.4320802559569</c:v>
                </c:pt>
                <c:pt idx="52">
                  <c:v>5674.4870437275986</c:v>
                </c:pt>
                <c:pt idx="53">
                  <c:v>5508.8876394518329</c:v>
                </c:pt>
                <c:pt idx="54">
                  <c:v>5346.7253900737824</c:v>
                </c:pt>
                <c:pt idx="55">
                  <c:v>5188.0885085985356</c:v>
                </c:pt>
                <c:pt idx="56">
                  <c:v>5033.0442936686341</c:v>
                </c:pt>
                <c:pt idx="57">
                  <c:v>4881.6233763704449</c:v>
                </c:pt>
                <c:pt idx="58">
                  <c:v>4733.8492870612527</c:v>
                </c:pt>
                <c:pt idx="59">
                  <c:v>4589.7525521492007</c:v>
                </c:pt>
                <c:pt idx="60">
                  <c:v>4449.3294123228152</c:v>
                </c:pt>
                <c:pt idx="61">
                  <c:v>4312.5383723072573</c:v>
                </c:pt>
                <c:pt idx="62">
                  <c:v>4179.2096796089745</c:v>
                </c:pt>
                <c:pt idx="63">
                  <c:v>4049.1892020755904</c:v>
                </c:pt>
                <c:pt idx="64">
                  <c:v>3922.5826558302429</c:v>
                </c:pt>
                <c:pt idx="65">
                  <c:v>3799.420499892321</c:v>
                </c:pt>
                <c:pt idx="66">
                  <c:v>3679.6823541430986</c:v>
                </c:pt>
                <c:pt idx="67">
                  <c:v>3563.364926006409</c:v>
                </c:pt>
                <c:pt idx="68">
                  <c:v>3450.4609229791427</c:v>
                </c:pt>
                <c:pt idx="69">
                  <c:v>3340.9201847728</c:v>
                </c:pt>
                <c:pt idx="70">
                  <c:v>3234.7102726468447</c:v>
                </c:pt>
                <c:pt idx="71">
                  <c:v>3132.5180477344002</c:v>
                </c:pt>
                <c:pt idx="72">
                  <c:v>3034.8192170870798</c:v>
                </c:pt>
                <c:pt idx="73">
                  <c:v>2941.8625687581357</c:v>
                </c:pt>
                <c:pt idx="74">
                  <c:v>2853.76379202818</c:v>
                </c:pt>
                <c:pt idx="75">
                  <c:v>2770.5602045381074</c:v>
                </c:pt>
                <c:pt idx="76">
                  <c:v>2692.246918019508</c:v>
                </c:pt>
                <c:pt idx="77">
                  <c:v>2618.798193780673</c:v>
                </c:pt>
                <c:pt idx="78">
                  <c:v>2550.1883841627828</c:v>
                </c:pt>
                <c:pt idx="79">
                  <c:v>2486.3734739102861</c:v>
                </c:pt>
                <c:pt idx="80">
                  <c:v>2427.258546612135</c:v>
                </c:pt>
                <c:pt idx="81">
                  <c:v>2372.6864885357445</c:v>
                </c:pt>
                <c:pt idx="82">
                  <c:v>2322.4479529265518</c:v>
                </c:pt>
                <c:pt idx="83">
                  <c:v>2276.3013321467274</c:v>
                </c:pt>
                <c:pt idx="84">
                  <c:v>2233.9649761603914</c:v>
                </c:pt>
                <c:pt idx="85">
                  <c:v>2195.1326465706366</c:v>
                </c:pt>
                <c:pt idx="86">
                  <c:v>2159.4861666696311</c:v>
                </c:pt>
                <c:pt idx="87">
                  <c:v>2126.7073747377999</c:v>
                </c:pt>
                <c:pt idx="88">
                  <c:v>2096.4868292186015</c:v>
                </c:pt>
                <c:pt idx="89">
                  <c:v>2068.5296363381899</c:v>
                </c:pt>
                <c:pt idx="90">
                  <c:v>2042.5561249189477</c:v>
                </c:pt>
                <c:pt idx="91">
                  <c:v>2018.3022020011899</c:v>
                </c:pt>
                <c:pt idx="92">
                  <c:v>1995.518722848054</c:v>
                </c:pt>
                <c:pt idx="93">
                  <c:v>1973.9787205801392</c:v>
                </c:pt>
                <c:pt idx="94">
                  <c:v>1953.4805919230546</c:v>
                </c:pt>
                <c:pt idx="95">
                  <c:v>1933.8480410093039</c:v>
                </c:pt>
                <c:pt idx="96">
                  <c:v>1914.9280024510178</c:v>
                </c:pt>
                <c:pt idx="97">
                  <c:v>1896.5870016107658</c:v>
                </c:pt>
                <c:pt idx="98">
                  <c:v>1878.7245339652259</c:v>
                </c:pt>
                <c:pt idx="99">
                  <c:v>1861.2655973864325</c:v>
                </c:pt>
                <c:pt idx="100">
                  <c:v>1844.1534808529698</c:v>
                </c:pt>
                <c:pt idx="101">
                  <c:v>1827.3448641063899</c:v>
                </c:pt>
                <c:pt idx="102">
                  <c:v>1810.8058850418565</c:v>
                </c:pt>
                <c:pt idx="103">
                  <c:v>1794.5103092201423</c:v>
                </c:pt>
                <c:pt idx="104">
                  <c:v>1778.4376019176916</c:v>
                </c:pt>
                <c:pt idx="105">
                  <c:v>1762.57110827796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3"/>
          <c:order val="1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rgbClr val="305983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E$2:$E$107</c:f>
              <c:numCache>
                <c:formatCode>General</c:formatCode>
                <c:ptCount val="106"/>
                <c:pt idx="10">
                  <c:v>7445.066791190713</c:v>
                </c:pt>
                <c:pt idx="11">
                  <c:v>7683.2928553793045</c:v>
                </c:pt>
                <c:pt idx="12">
                  <c:v>7931.5522738014424</c:v>
                </c:pt>
                <c:pt idx="13">
                  <c:v>8193.7949368262744</c:v>
                </c:pt>
                <c:pt idx="14">
                  <c:v>8467.6154283889045</c:v>
                </c:pt>
                <c:pt idx="15">
                  <c:v>8746.9129729918423</c:v>
                </c:pt>
                <c:pt idx="16">
                  <c:v>9030.6924666136729</c:v>
                </c:pt>
                <c:pt idx="17">
                  <c:v>9312.207074760252</c:v>
                </c:pt>
                <c:pt idx="18">
                  <c:v>9583.9306255261563</c:v>
                </c:pt>
                <c:pt idx="19">
                  <c:v>9845.5837729842024</c:v>
                </c:pt>
                <c:pt idx="20">
                  <c:v>10096.80791915163</c:v>
                </c:pt>
                <c:pt idx="21">
                  <c:v>10332.908535706847</c:v>
                </c:pt>
                <c:pt idx="22">
                  <c:v>10551.54357173382</c:v>
                </c:pt>
                <c:pt idx="23">
                  <c:v>10753.324292726917</c:v>
                </c:pt>
                <c:pt idx="24">
                  <c:v>10939.470832409774</c:v>
                </c:pt>
                <c:pt idx="25">
                  <c:v>11111.022332431477</c:v>
                </c:pt>
                <c:pt idx="26">
                  <c:v>11268.035623801787</c:v>
                </c:pt>
                <c:pt idx="27">
                  <c:v>11410.023991359425</c:v>
                </c:pt>
                <c:pt idx="28">
                  <c:v>11535.848047877857</c:v>
                </c:pt>
                <c:pt idx="29">
                  <c:v>11646.134845904917</c:v>
                </c:pt>
                <c:pt idx="30">
                  <c:v>11741.990785426487</c:v>
                </c:pt>
                <c:pt idx="31">
                  <c:v>11824.137387865227</c:v>
                </c:pt>
                <c:pt idx="32">
                  <c:v>11892.903856462735</c:v>
                </c:pt>
                <c:pt idx="33">
                  <c:v>11949.038223513196</c:v>
                </c:pt>
                <c:pt idx="34">
                  <c:v>11993.513046453769</c:v>
                </c:pt>
                <c:pt idx="35">
                  <c:v>12026.545344259961</c:v>
                </c:pt>
                <c:pt idx="36">
                  <c:v>12048.786111627651</c:v>
                </c:pt>
                <c:pt idx="37">
                  <c:v>12060.767000124291</c:v>
                </c:pt>
                <c:pt idx="38">
                  <c:v>12062.798496133062</c:v>
                </c:pt>
                <c:pt idx="39">
                  <c:v>12055.535444133184</c:v>
                </c:pt>
                <c:pt idx="40">
                  <c:v>12039.643255398167</c:v>
                </c:pt>
                <c:pt idx="41">
                  <c:v>12015.434765807086</c:v>
                </c:pt>
                <c:pt idx="42">
                  <c:v>11983.210036903323</c:v>
                </c:pt>
                <c:pt idx="43">
                  <c:v>11943.436237119218</c:v>
                </c:pt>
                <c:pt idx="44">
                  <c:v>11896.419543106575</c:v>
                </c:pt>
                <c:pt idx="45">
                  <c:v>11842.474374672202</c:v>
                </c:pt>
                <c:pt idx="46">
                  <c:v>11782.039236755074</c:v>
                </c:pt>
                <c:pt idx="47">
                  <c:v>11715.367034225173</c:v>
                </c:pt>
                <c:pt idx="48">
                  <c:v>11645.748511456459</c:v>
                </c:pt>
                <c:pt idx="49">
                  <c:v>11573.47758162267</c:v>
                </c:pt>
                <c:pt idx="50">
                  <c:v>11498.729365897672</c:v>
                </c:pt>
                <c:pt idx="51">
                  <c:v>11421.742063989221</c:v>
                </c:pt>
                <c:pt idx="52">
                  <c:v>11342.74740514414</c:v>
                </c:pt>
                <c:pt idx="53">
                  <c:v>11261.965803587391</c:v>
                </c:pt>
                <c:pt idx="54">
                  <c:v>11179.629506415027</c:v>
                </c:pt>
                <c:pt idx="55">
                  <c:v>11095.935020422321</c:v>
                </c:pt>
                <c:pt idx="56">
                  <c:v>11011.042721272161</c:v>
                </c:pt>
                <c:pt idx="57">
                  <c:v>10925.073076528879</c:v>
                </c:pt>
                <c:pt idx="58">
                  <c:v>10838.140631910339</c:v>
                </c:pt>
                <c:pt idx="59">
                  <c:v>10750.370820727008</c:v>
                </c:pt>
                <c:pt idx="60">
                  <c:v>10661.915980781467</c:v>
                </c:pt>
                <c:pt idx="61">
                  <c:v>10572.948099720816</c:v>
                </c:pt>
                <c:pt idx="62">
                  <c:v>10483.546465504322</c:v>
                </c:pt>
                <c:pt idx="63">
                  <c:v>10393.803916192661</c:v>
                </c:pt>
                <c:pt idx="64">
                  <c:v>10303.861567112373</c:v>
                </c:pt>
                <c:pt idx="65">
                  <c:v>10213.785773217924</c:v>
                </c:pt>
                <c:pt idx="66">
                  <c:v>10123.625223850049</c:v>
                </c:pt>
                <c:pt idx="67">
                  <c:v>10033.475369768119</c:v>
                </c:pt>
                <c:pt idx="68">
                  <c:v>9943.4358721046829</c:v>
                </c:pt>
                <c:pt idx="69">
                  <c:v>9853.5644851223551</c:v>
                </c:pt>
                <c:pt idx="70">
                  <c:v>9763.924041946213</c:v>
                </c:pt>
                <c:pt idx="71">
                  <c:v>9674.5816313164014</c:v>
                </c:pt>
                <c:pt idx="72">
                  <c:v>9585.5927684612634</c:v>
                </c:pt>
                <c:pt idx="73">
                  <c:v>9497.0081325328683</c:v>
                </c:pt>
                <c:pt idx="74">
                  <c:v>9408.8747644341802</c:v>
                </c:pt>
                <c:pt idx="75">
                  <c:v>9321.2360251680821</c:v>
                </c:pt>
                <c:pt idx="76">
                  <c:v>9234.1310423892191</c:v>
                </c:pt>
                <c:pt idx="77">
                  <c:v>9147.5951740168621</c:v>
                </c:pt>
                <c:pt idx="78">
                  <c:v>9061.6601727252837</c:v>
                </c:pt>
                <c:pt idx="79">
                  <c:v>8976.3539946234887</c:v>
                </c:pt>
                <c:pt idx="80">
                  <c:v>8891.7012609393714</c:v>
                </c:pt>
                <c:pt idx="81">
                  <c:v>8807.7235049582796</c:v>
                </c:pt>
                <c:pt idx="82">
                  <c:v>8724.4392160395055</c:v>
                </c:pt>
                <c:pt idx="83">
                  <c:v>8641.8640347407345</c:v>
                </c:pt>
                <c:pt idx="84">
                  <c:v>8560.010968599101</c:v>
                </c:pt>
                <c:pt idx="85">
                  <c:v>8478.8904825950194</c:v>
                </c:pt>
                <c:pt idx="86">
                  <c:v>8398.5105415763755</c:v>
                </c:pt>
                <c:pt idx="87">
                  <c:v>8318.8768307740993</c:v>
                </c:pt>
                <c:pt idx="88">
                  <c:v>8239.9929527778277</c:v>
                </c:pt>
                <c:pt idx="89">
                  <c:v>8161.8605799738843</c:v>
                </c:pt>
                <c:pt idx="90">
                  <c:v>8084.4795617019545</c:v>
                </c:pt>
                <c:pt idx="91">
                  <c:v>8007.848022648931</c:v>
                </c:pt>
                <c:pt idx="92">
                  <c:v>7931.9625298930623</c:v>
                </c:pt>
                <c:pt idx="93">
                  <c:v>7856.8182107687398</c:v>
                </c:pt>
                <c:pt idx="94">
                  <c:v>7782.4088560768396</c:v>
                </c:pt>
                <c:pt idx="95">
                  <c:v>7708.7270511846255</c:v>
                </c:pt>
                <c:pt idx="96">
                  <c:v>7635.7643094445884</c:v>
                </c:pt>
                <c:pt idx="97">
                  <c:v>7563.5111953383912</c:v>
                </c:pt>
                <c:pt idx="98">
                  <c:v>7491.9574223839272</c:v>
                </c:pt>
                <c:pt idx="99">
                  <c:v>7421.0919403833304</c:v>
                </c:pt>
                <c:pt idx="100">
                  <c:v>7350.9030437987631</c:v>
                </c:pt>
                <c:pt idx="101">
                  <c:v>7281.3784763318054</c:v>
                </c:pt>
                <c:pt idx="102">
                  <c:v>7212.5055189606192</c:v>
                </c:pt>
                <c:pt idx="103">
                  <c:v>7144.2710778890605</c:v>
                </c:pt>
                <c:pt idx="104">
                  <c:v>7076.6617677339982</c:v>
                </c:pt>
                <c:pt idx="105">
                  <c:v>7009.6639900544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4B-49C3-A552-FC8CD36DEB4C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7445.066791190713</c:v>
                </c:pt>
                <c:pt idx="11">
                  <c:v>7683.2928553793045</c:v>
                </c:pt>
                <c:pt idx="12">
                  <c:v>7927.5036554373874</c:v>
                </c:pt>
                <c:pt idx="13">
                  <c:v>8178.8407071724523</c:v>
                </c:pt>
                <c:pt idx="14">
                  <c:v>8433.2297068548633</c:v>
                </c:pt>
                <c:pt idx="15">
                  <c:v>8683.4860314971902</c:v>
                </c:pt>
                <c:pt idx="16">
                  <c:v>8927.8341552411457</c:v>
                </c:pt>
                <c:pt idx="17">
                  <c:v>9158.9015366558306</c:v>
                </c:pt>
                <c:pt idx="18">
                  <c:v>9368.663691722064</c:v>
                </c:pt>
                <c:pt idx="19">
                  <c:v>9556.5085497429736</c:v>
                </c:pt>
                <c:pt idx="20">
                  <c:v>9721.9991608728033</c:v>
                </c:pt>
                <c:pt idx="21">
                  <c:v>9860.604538894615</c:v>
                </c:pt>
                <c:pt idx="22">
                  <c:v>9970.409506576616</c:v>
                </c:pt>
                <c:pt idx="23">
                  <c:v>10052.722249482642</c:v>
                </c:pt>
                <c:pt idx="24">
                  <c:v>10109.642928074862</c:v>
                </c:pt>
                <c:pt idx="25">
                  <c:v>10143.178943764886</c:v>
                </c:pt>
                <c:pt idx="26">
                  <c:v>10154.409892875401</c:v>
                </c:pt>
                <c:pt idx="27">
                  <c:v>10143.913370193412</c:v>
                </c:pt>
                <c:pt idx="28">
                  <c:v>10111.628752794104</c:v>
                </c:pt>
                <c:pt idx="29">
                  <c:v>10059.250531358719</c:v>
                </c:pt>
                <c:pt idx="30">
                  <c:v>9988.9190624145431</c:v>
                </c:pt>
                <c:pt idx="31">
                  <c:v>9902.3514265336453</c:v>
                </c:pt>
                <c:pt idx="32">
                  <c:v>9800.8373788582285</c:v>
                </c:pt>
                <c:pt idx="33">
                  <c:v>9686.0556333873883</c:v>
                </c:pt>
                <c:pt idx="34">
                  <c:v>9559.8669000297923</c:v>
                </c:pt>
                <c:pt idx="35">
                  <c:v>9423.3101085894687</c:v>
                </c:pt>
                <c:pt idx="36">
                  <c:v>9277.7862144212249</c:v>
                </c:pt>
                <c:pt idx="37">
                  <c:v>9124.5093254181265</c:v>
                </c:pt>
                <c:pt idx="38">
                  <c:v>8964.4131323599649</c:v>
                </c:pt>
                <c:pt idx="39">
                  <c:v>8798.7147582139787</c:v>
                </c:pt>
                <c:pt idx="40">
                  <c:v>8628.5864473178681</c:v>
                </c:pt>
                <c:pt idx="41">
                  <c:v>8454.7940666114318</c:v>
                </c:pt>
                <c:pt idx="42">
                  <c:v>8278.0384528384766</c:v>
                </c:pt>
                <c:pt idx="43">
                  <c:v>8099.1398565369373</c:v>
                </c:pt>
                <c:pt idx="44">
                  <c:v>7918.7090367630908</c:v>
                </c:pt>
                <c:pt idx="45">
                  <c:v>7737.3188344419905</c:v>
                </c:pt>
                <c:pt idx="46">
                  <c:v>7555.6237625192007</c:v>
                </c:pt>
                <c:pt idx="47">
                  <c:v>7374.0544184679966</c:v>
                </c:pt>
                <c:pt idx="48">
                  <c:v>7194.8907245393248</c:v>
                </c:pt>
                <c:pt idx="49">
                  <c:v>7018.4283971524101</c:v>
                </c:pt>
                <c:pt idx="50">
                  <c:v>6844.8206277902764</c:v>
                </c:pt>
                <c:pt idx="51">
                  <c:v>6674.2623915119702</c:v>
                </c:pt>
                <c:pt idx="52">
                  <c:v>6506.9242344970125</c:v>
                </c:pt>
                <c:pt idx="53">
                  <c:v>6342.9497603710461</c:v>
                </c:pt>
                <c:pt idx="54">
                  <c:v>6182.4807127655695</c:v>
                </c:pt>
                <c:pt idx="55">
                  <c:v>6025.6116742315899</c:v>
                </c:pt>
                <c:pt idx="56">
                  <c:v>5872.3909531744248</c:v>
                </c:pt>
                <c:pt idx="57">
                  <c:v>5722.818215296119</c:v>
                </c:pt>
                <c:pt idx="58">
                  <c:v>5576.880127703751</c:v>
                </c:pt>
                <c:pt idx="59">
                  <c:v>5434.5685766589741</c:v>
                </c:pt>
                <c:pt idx="60">
                  <c:v>5295.8979267290197</c:v>
                </c:pt>
                <c:pt idx="61">
                  <c:v>5160.8988644035244</c:v>
                </c:pt>
                <c:pt idx="62">
                  <c:v>5029.507415074765</c:v>
                </c:pt>
                <c:pt idx="63">
                  <c:v>4901.6722166798763</c:v>
                </c:pt>
                <c:pt idx="64">
                  <c:v>4777.3897357680271</c:v>
                </c:pt>
                <c:pt idx="65">
                  <c:v>4656.5814728264013</c:v>
                </c:pt>
                <c:pt idx="66">
                  <c:v>4539.1515768147619</c:v>
                </c:pt>
                <c:pt idx="67">
                  <c:v>4425.0521293648935</c:v>
                </c:pt>
                <c:pt idx="68">
                  <c:v>4314.2415428973018</c:v>
                </c:pt>
                <c:pt idx="69">
                  <c:v>4206.6384886395517</c:v>
                </c:pt>
                <c:pt idx="70">
                  <c:v>4102.169410650371</c:v>
                </c:pt>
                <c:pt idx="71">
                  <c:v>4000.7681398717559</c:v>
                </c:pt>
                <c:pt idx="72">
                  <c:v>3902.3602346390849</c:v>
                </c:pt>
                <c:pt idx="73">
                  <c:v>3806.8695634724681</c:v>
                </c:pt>
                <c:pt idx="74">
                  <c:v>3714.2197987895802</c:v>
                </c:pt>
                <c:pt idx="75">
                  <c:v>3624.3346292297729</c:v>
                </c:pt>
                <c:pt idx="76">
                  <c:v>3537.1373657322065</c:v>
                </c:pt>
                <c:pt idx="77">
                  <c:v>3452.5515163372265</c:v>
                </c:pt>
                <c:pt idx="78">
                  <c:v>3370.5010180504528</c:v>
                </c:pt>
                <c:pt idx="79">
                  <c:v>3290.9100809288525</c:v>
                </c:pt>
                <c:pt idx="80">
                  <c:v>3213.7036620639938</c:v>
                </c:pt>
                <c:pt idx="81">
                  <c:v>3138.8077139150005</c:v>
                </c:pt>
                <c:pt idx="82">
                  <c:v>3066.149209609529</c:v>
                </c:pt>
                <c:pt idx="83">
                  <c:v>2995.6563044153677</c:v>
                </c:pt>
                <c:pt idx="84">
                  <c:v>2927.2585040506242</c:v>
                </c:pt>
                <c:pt idx="85">
                  <c:v>2860.8866912581957</c:v>
                </c:pt>
                <c:pt idx="86">
                  <c:v>2796.4730925708832</c:v>
                </c:pt>
                <c:pt idx="87">
                  <c:v>2733.9514118582142</c:v>
                </c:pt>
                <c:pt idx="88">
                  <c:v>2673.2569309225064</c:v>
                </c:pt>
                <c:pt idx="89">
                  <c:v>2614.3265568015354</c:v>
                </c:pt>
                <c:pt idx="90">
                  <c:v>2557.0988177556069</c:v>
                </c:pt>
                <c:pt idx="91">
                  <c:v>2501.513845808237</c:v>
                </c:pt>
                <c:pt idx="92">
                  <c:v>2447.5134224730709</c:v>
                </c:pt>
                <c:pt idx="93">
                  <c:v>2395.0409723346834</c:v>
                </c:pt>
                <c:pt idx="94">
                  <c:v>2344.0415388401793</c:v>
                </c:pt>
                <c:pt idx="95">
                  <c:v>2294.4617873935317</c:v>
                </c:pt>
                <c:pt idx="96">
                  <c:v>2246.2500101165147</c:v>
                </c:pt>
                <c:pt idx="97">
                  <c:v>2199.356119954693</c:v>
                </c:pt>
                <c:pt idx="98">
                  <c:v>2153.7316205690654</c:v>
                </c:pt>
                <c:pt idx="99">
                  <c:v>2109.3295667916805</c:v>
                </c:pt>
                <c:pt idx="100">
                  <c:v>2066.1045478985202</c:v>
                </c:pt>
                <c:pt idx="101">
                  <c:v>2024.0126691892413</c:v>
                </c:pt>
                <c:pt idx="102">
                  <c:v>1983.0115196377828</c:v>
                </c:pt>
                <c:pt idx="103">
                  <c:v>1943.060142473583</c:v>
                </c:pt>
                <c:pt idx="104">
                  <c:v>1904.1190045077831</c:v>
                </c:pt>
                <c:pt idx="105">
                  <c:v>1866.1499642809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585</c:v>
                </c:pt>
                <c:pt idx="1">
                  <c:v>1597</c:v>
                </c:pt>
                <c:pt idx="2">
                  <c:v>1624</c:v>
                </c:pt>
                <c:pt idx="3">
                  <c:v>1650</c:v>
                </c:pt>
                <c:pt idx="4">
                  <c:v>1670</c:v>
                </c:pt>
                <c:pt idx="5">
                  <c:v>1674</c:v>
                </c:pt>
                <c:pt idx="6">
                  <c:v>1676</c:v>
                </c:pt>
                <c:pt idx="7">
                  <c:v>1772</c:v>
                </c:pt>
                <c:pt idx="8">
                  <c:v>1802</c:v>
                </c:pt>
                <c:pt idx="9">
                  <c:v>1832</c:v>
                </c:pt>
                <c:pt idx="10">
                  <c:v>1821</c:v>
                </c:pt>
                <c:pt idx="11">
                  <c:v>1833</c:v>
                </c:pt>
                <c:pt idx="12">
                  <c:v>1781</c:v>
                </c:pt>
                <c:pt idx="13">
                  <c:v>1828</c:v>
                </c:pt>
                <c:pt idx="14">
                  <c:v>1885</c:v>
                </c:pt>
                <c:pt idx="15">
                  <c:v>1892</c:v>
                </c:pt>
                <c:pt idx="16">
                  <c:v>1861</c:v>
                </c:pt>
                <c:pt idx="17">
                  <c:v>1860</c:v>
                </c:pt>
                <c:pt idx="18">
                  <c:v>1820</c:v>
                </c:pt>
                <c:pt idx="19">
                  <c:v>1781</c:v>
                </c:pt>
                <c:pt idx="20">
                  <c:v>1805</c:v>
                </c:pt>
                <c:pt idx="21">
                  <c:v>1825</c:v>
                </c:pt>
                <c:pt idx="22">
                  <c:v>1777</c:v>
                </c:pt>
                <c:pt idx="23">
                  <c:v>1746</c:v>
                </c:pt>
                <c:pt idx="24">
                  <c:v>1744</c:v>
                </c:pt>
                <c:pt idx="25">
                  <c:v>1683</c:v>
                </c:pt>
                <c:pt idx="26">
                  <c:v>1646</c:v>
                </c:pt>
                <c:pt idx="27">
                  <c:v>1656</c:v>
                </c:pt>
                <c:pt idx="28">
                  <c:v>1666</c:v>
                </c:pt>
                <c:pt idx="29">
                  <c:v>1616</c:v>
                </c:pt>
                <c:pt idx="30">
                  <c:v>1558</c:v>
                </c:pt>
                <c:pt idx="31">
                  <c:v>1511</c:v>
                </c:pt>
                <c:pt idx="32">
                  <c:v>1429</c:v>
                </c:pt>
                <c:pt idx="33">
                  <c:v>1403</c:v>
                </c:pt>
                <c:pt idx="34">
                  <c:v>1383</c:v>
                </c:pt>
                <c:pt idx="35">
                  <c:v>1349</c:v>
                </c:pt>
                <c:pt idx="36">
                  <c:v>1399</c:v>
                </c:pt>
                <c:pt idx="37">
                  <c:v>1366</c:v>
                </c:pt>
                <c:pt idx="38">
                  <c:v>1318</c:v>
                </c:pt>
                <c:pt idx="39">
                  <c:v>1240</c:v>
                </c:pt>
                <c:pt idx="40">
                  <c:v>1224</c:v>
                </c:pt>
                <c:pt idx="41">
                  <c:v>1207</c:v>
                </c:pt>
                <c:pt idx="42">
                  <c:v>1193</c:v>
                </c:pt>
                <c:pt idx="43">
                  <c:v>1167</c:v>
                </c:pt>
                <c:pt idx="44">
                  <c:v>1123</c:v>
                </c:pt>
                <c:pt idx="45">
                  <c:v>1045</c:v>
                </c:pt>
                <c:pt idx="46">
                  <c:v>1024</c:v>
                </c:pt>
                <c:pt idx="47">
                  <c:v>982</c:v>
                </c:pt>
                <c:pt idx="48">
                  <c:v>985</c:v>
                </c:pt>
                <c:pt idx="49">
                  <c:v>1003</c:v>
                </c:pt>
                <c:pt idx="50">
                  <c:v>952</c:v>
                </c:pt>
                <c:pt idx="51">
                  <c:v>918</c:v>
                </c:pt>
                <c:pt idx="52">
                  <c:v>834</c:v>
                </c:pt>
                <c:pt idx="53">
                  <c:v>788</c:v>
                </c:pt>
                <c:pt idx="54">
                  <c:v>748</c:v>
                </c:pt>
                <c:pt idx="55">
                  <c:v>759</c:v>
                </c:pt>
                <c:pt idx="56">
                  <c:v>734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F4-4929-8AD3-EA5A52DA8A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530.2191397925492</c:v>
                </c:pt>
                <c:pt idx="32">
                  <c:v>1496.375196120415</c:v>
                </c:pt>
                <c:pt idx="33">
                  <c:v>1462.9106233174198</c:v>
                </c:pt>
                <c:pt idx="34">
                  <c:v>1430.8212562313993</c:v>
                </c:pt>
                <c:pt idx="35">
                  <c:v>1399.7801552886681</c:v>
                </c:pt>
                <c:pt idx="36">
                  <c:v>1369.2191766887213</c:v>
                </c:pt>
                <c:pt idx="37">
                  <c:v>1338.8762059004825</c:v>
                </c:pt>
                <c:pt idx="38">
                  <c:v>1309.0435564479278</c:v>
                </c:pt>
                <c:pt idx="39">
                  <c:v>1278.9122585332334</c:v>
                </c:pt>
                <c:pt idx="40">
                  <c:v>1248.1905271099413</c:v>
                </c:pt>
                <c:pt idx="41">
                  <c:v>1217.2879555428667</c:v>
                </c:pt>
                <c:pt idx="42">
                  <c:v>1185.7562747416152</c:v>
                </c:pt>
                <c:pt idx="43">
                  <c:v>1153.4204530842198</c:v>
                </c:pt>
                <c:pt idx="44">
                  <c:v>1120.3644613469446</c:v>
                </c:pt>
                <c:pt idx="45">
                  <c:v>1086.8226049174418</c:v>
                </c:pt>
                <c:pt idx="46">
                  <c:v>1053.0999138732045</c:v>
                </c:pt>
                <c:pt idx="47">
                  <c:v>1019.3109100344344</c:v>
                </c:pt>
                <c:pt idx="48">
                  <c:v>985.4354782666253</c:v>
                </c:pt>
                <c:pt idx="49">
                  <c:v>951.48201680966565</c:v>
                </c:pt>
                <c:pt idx="50">
                  <c:v>917.70108637994485</c:v>
                </c:pt>
                <c:pt idx="51">
                  <c:v>884.25294492896614</c:v>
                </c:pt>
                <c:pt idx="52">
                  <c:v>851.42170025383575</c:v>
                </c:pt>
                <c:pt idx="53">
                  <c:v>818.99779153161614</c:v>
                </c:pt>
                <c:pt idx="54">
                  <c:v>787.09799345402007</c:v>
                </c:pt>
                <c:pt idx="55">
                  <c:v>755.85630385895911</c:v>
                </c:pt>
                <c:pt idx="56">
                  <c:v>725.39827197834825</c:v>
                </c:pt>
                <c:pt idx="57">
                  <c:v>695.83094032708323</c:v>
                </c:pt>
                <c:pt idx="58">
                  <c:v>667.14453217629364</c:v>
                </c:pt>
                <c:pt idx="59">
                  <c:v>639.40531133780212</c:v>
                </c:pt>
                <c:pt idx="60">
                  <c:v>612.574857789807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3F4-4929-8AD3-EA5A52DA8AED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1531.5386658376153</c:v>
                </c:pt>
                <c:pt idx="32">
                  <c:v>1500.1887729458856</c:v>
                </c:pt>
                <c:pt idx="33">
                  <c:v>1470.1483655988056</c:v>
                </c:pt>
                <c:pt idx="34">
                  <c:v>1442.2467855418952</c:v>
                </c:pt>
                <c:pt idx="35">
                  <c:v>1416.2613467966798</c:v>
                </c:pt>
                <c:pt idx="36">
                  <c:v>1391.7296455071655</c:v>
                </c:pt>
                <c:pt idx="37">
                  <c:v>1368.4703481516135</c:v>
                </c:pt>
                <c:pt idx="38">
                  <c:v>1346.7968084630513</c:v>
                </c:pt>
                <c:pt idx="39">
                  <c:v>1325.6980801508812</c:v>
                </c:pt>
                <c:pt idx="40">
                  <c:v>1304.7063045381192</c:v>
                </c:pt>
                <c:pt idx="41">
                  <c:v>1284.1491915546394</c:v>
                </c:pt>
                <c:pt idx="42">
                  <c:v>1263.4973490472935</c:v>
                </c:pt>
                <c:pt idx="43">
                  <c:v>1242.4606938509155</c:v>
                </c:pt>
                <c:pt idx="44">
                  <c:v>1220.9944300601505</c:v>
                </c:pt>
                <c:pt idx="45">
                  <c:v>1199.195466714363</c:v>
                </c:pt>
                <c:pt idx="46">
                  <c:v>1177.2076642874563</c:v>
                </c:pt>
                <c:pt idx="47">
                  <c:v>1155.0388319036074</c:v>
                </c:pt>
                <c:pt idx="48">
                  <c:v>1132.5854717838488</c:v>
                </c:pt>
                <c:pt idx="49">
                  <c:v>1109.7891291041774</c:v>
                </c:pt>
                <c:pt idx="50">
                  <c:v>1086.8311280656749</c:v>
                </c:pt>
                <c:pt idx="51">
                  <c:v>1063.7889384182624</c:v>
                </c:pt>
                <c:pt idx="52">
                  <c:v>1040.8789051430983</c:v>
                </c:pt>
                <c:pt idx="53">
                  <c:v>1017.8437217519023</c:v>
                </c:pt>
                <c:pt idx="54">
                  <c:v>994.77991630954443</c:v>
                </c:pt>
                <c:pt idx="55">
                  <c:v>971.80888023787998</c:v>
                </c:pt>
                <c:pt idx="56">
                  <c:v>949.03548955262227</c:v>
                </c:pt>
                <c:pt idx="57">
                  <c:v>926.55647205745674</c:v>
                </c:pt>
                <c:pt idx="58">
                  <c:v>904.36125783888269</c:v>
                </c:pt>
                <c:pt idx="59">
                  <c:v>882.51795593194993</c:v>
                </c:pt>
                <c:pt idx="60">
                  <c:v>860.999862684778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3F4-4929-8AD3-EA5A52DA8AED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532.8581918826821</c:v>
                </c:pt>
                <c:pt idx="32">
                  <c:v>1504.0064992243281</c:v>
                </c:pt>
                <c:pt idx="33">
                  <c:v>1477.3998226745871</c:v>
                </c:pt>
                <c:pt idx="34">
                  <c:v>1453.6935129633644</c:v>
                </c:pt>
                <c:pt idx="35">
                  <c:v>1432.8378993938995</c:v>
                </c:pt>
                <c:pt idx="36">
                  <c:v>1414.5300961180217</c:v>
                </c:pt>
                <c:pt idx="37">
                  <c:v>1398.7214281344327</c:v>
                </c:pt>
                <c:pt idx="38">
                  <c:v>1385.7819034477932</c:v>
                </c:pt>
                <c:pt idx="39">
                  <c:v>1374.502306905232</c:v>
                </c:pt>
                <c:pt idx="40">
                  <c:v>1364.2453775160536</c:v>
                </c:pt>
                <c:pt idx="41">
                  <c:v>1355.3028614970808</c:v>
                </c:pt>
                <c:pt idx="42">
                  <c:v>1347.1253372823521</c:v>
                </c:pt>
                <c:pt idx="43">
                  <c:v>1339.3578031170907</c:v>
                </c:pt>
                <c:pt idx="44">
                  <c:v>1331.8237083445381</c:v>
                </c:pt>
                <c:pt idx="45">
                  <c:v>1324.4852904659108</c:v>
                </c:pt>
                <c:pt idx="46">
                  <c:v>1317.3350333755479</c:v>
                </c:pt>
                <c:pt idx="47">
                  <c:v>1310.2820339410723</c:v>
                </c:pt>
                <c:pt idx="48">
                  <c:v>1303.1574285782322</c:v>
                </c:pt>
                <c:pt idx="49">
                  <c:v>1295.8427422789994</c:v>
                </c:pt>
                <c:pt idx="50">
                  <c:v>1288.4229319450781</c:v>
                </c:pt>
                <c:pt idx="51">
                  <c:v>1280.8802704087643</c:v>
                </c:pt>
                <c:pt idx="52">
                  <c:v>1273.3506552378381</c:v>
                </c:pt>
                <c:pt idx="53">
                  <c:v>1265.5195836787725</c:v>
                </c:pt>
                <c:pt idx="54">
                  <c:v>1257.4464272439079</c:v>
                </c:pt>
                <c:pt idx="55">
                  <c:v>1249.2173097339878</c:v>
                </c:pt>
                <c:pt idx="56">
                  <c:v>1240.8989954278663</c:v>
                </c:pt>
                <c:pt idx="57">
                  <c:v>1232.5484583457223</c:v>
                </c:pt>
                <c:pt idx="58">
                  <c:v>1224.1298886776738</c:v>
                </c:pt>
                <c:pt idx="59">
                  <c:v>1215.6914310179739</c:v>
                </c:pt>
                <c:pt idx="60">
                  <c:v>1207.19277659129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3F4-4929-8AD3-EA5A52DA8AED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208</c:v>
                </c:pt>
                <c:pt idx="1">
                  <c:v>1208</c:v>
                </c:pt>
                <c:pt idx="2">
                  <c:v>1208</c:v>
                </c:pt>
                <c:pt idx="3">
                  <c:v>1208</c:v>
                </c:pt>
                <c:pt idx="4">
                  <c:v>1208</c:v>
                </c:pt>
                <c:pt idx="5">
                  <c:v>1208</c:v>
                </c:pt>
                <c:pt idx="6">
                  <c:v>1208</c:v>
                </c:pt>
                <c:pt idx="7">
                  <c:v>1208</c:v>
                </c:pt>
                <c:pt idx="8">
                  <c:v>1208</c:v>
                </c:pt>
                <c:pt idx="9">
                  <c:v>1208</c:v>
                </c:pt>
                <c:pt idx="10">
                  <c:v>1208</c:v>
                </c:pt>
                <c:pt idx="11">
                  <c:v>1208</c:v>
                </c:pt>
                <c:pt idx="12">
                  <c:v>1208</c:v>
                </c:pt>
                <c:pt idx="13">
                  <c:v>1208</c:v>
                </c:pt>
                <c:pt idx="14">
                  <c:v>1208</c:v>
                </c:pt>
                <c:pt idx="15">
                  <c:v>1208</c:v>
                </c:pt>
                <c:pt idx="16">
                  <c:v>1208</c:v>
                </c:pt>
                <c:pt idx="17">
                  <c:v>1208</c:v>
                </c:pt>
                <c:pt idx="18">
                  <c:v>1208</c:v>
                </c:pt>
                <c:pt idx="19">
                  <c:v>1208</c:v>
                </c:pt>
                <c:pt idx="20">
                  <c:v>1208</c:v>
                </c:pt>
                <c:pt idx="21">
                  <c:v>1208</c:v>
                </c:pt>
                <c:pt idx="22">
                  <c:v>1208</c:v>
                </c:pt>
                <c:pt idx="23">
                  <c:v>1208</c:v>
                </c:pt>
                <c:pt idx="24">
                  <c:v>1208</c:v>
                </c:pt>
                <c:pt idx="25">
                  <c:v>1208</c:v>
                </c:pt>
                <c:pt idx="26">
                  <c:v>1208</c:v>
                </c:pt>
                <c:pt idx="27">
                  <c:v>1208</c:v>
                </c:pt>
                <c:pt idx="28">
                  <c:v>1208</c:v>
                </c:pt>
                <c:pt idx="29">
                  <c:v>1208</c:v>
                </c:pt>
                <c:pt idx="30">
                  <c:v>1208</c:v>
                </c:pt>
                <c:pt idx="31">
                  <c:v>1208</c:v>
                </c:pt>
                <c:pt idx="32">
                  <c:v>1208</c:v>
                </c:pt>
                <c:pt idx="33">
                  <c:v>1208</c:v>
                </c:pt>
                <c:pt idx="34">
                  <c:v>1208</c:v>
                </c:pt>
                <c:pt idx="35">
                  <c:v>1208</c:v>
                </c:pt>
                <c:pt idx="36">
                  <c:v>1208</c:v>
                </c:pt>
                <c:pt idx="37">
                  <c:v>1208</c:v>
                </c:pt>
                <c:pt idx="38">
                  <c:v>1208</c:v>
                </c:pt>
                <c:pt idx="39">
                  <c:v>1208</c:v>
                </c:pt>
                <c:pt idx="40">
                  <c:v>1208</c:v>
                </c:pt>
                <c:pt idx="41">
                  <c:v>1208</c:v>
                </c:pt>
                <c:pt idx="42">
                  <c:v>1208</c:v>
                </c:pt>
                <c:pt idx="43">
                  <c:v>1208</c:v>
                </c:pt>
                <c:pt idx="44">
                  <c:v>1208</c:v>
                </c:pt>
                <c:pt idx="45">
                  <c:v>1208</c:v>
                </c:pt>
                <c:pt idx="46">
                  <c:v>1208</c:v>
                </c:pt>
                <c:pt idx="47">
                  <c:v>1208</c:v>
                </c:pt>
                <c:pt idx="48">
                  <c:v>1208</c:v>
                </c:pt>
                <c:pt idx="49">
                  <c:v>1208</c:v>
                </c:pt>
                <c:pt idx="50">
                  <c:v>1208</c:v>
                </c:pt>
                <c:pt idx="51">
                  <c:v>1208</c:v>
                </c:pt>
                <c:pt idx="52">
                  <c:v>1208</c:v>
                </c:pt>
                <c:pt idx="53">
                  <c:v>1208</c:v>
                </c:pt>
                <c:pt idx="54">
                  <c:v>1208</c:v>
                </c:pt>
                <c:pt idx="55">
                  <c:v>1208</c:v>
                </c:pt>
                <c:pt idx="56">
                  <c:v>1208</c:v>
                </c:pt>
                <c:pt idx="57">
                  <c:v>1208</c:v>
                </c:pt>
                <c:pt idx="58">
                  <c:v>1208</c:v>
                </c:pt>
                <c:pt idx="59">
                  <c:v>1208</c:v>
                </c:pt>
                <c:pt idx="60">
                  <c:v>12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3F4-4929-8AD3-EA5A52DA8A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22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2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1170</c:v>
                </c:pt>
                <c:pt idx="1">
                  <c:v>1213</c:v>
                </c:pt>
                <c:pt idx="2">
                  <c:v>1241</c:v>
                </c:pt>
                <c:pt idx="3">
                  <c:v>1266</c:v>
                </c:pt>
                <c:pt idx="4">
                  <c:v>1270</c:v>
                </c:pt>
                <c:pt idx="5">
                  <c:v>1269</c:v>
                </c:pt>
                <c:pt idx="6">
                  <c:v>1282</c:v>
                </c:pt>
                <c:pt idx="7">
                  <c:v>1362</c:v>
                </c:pt>
                <c:pt idx="8">
                  <c:v>1391</c:v>
                </c:pt>
                <c:pt idx="9">
                  <c:v>1410</c:v>
                </c:pt>
                <c:pt idx="10">
                  <c:v>1463</c:v>
                </c:pt>
                <c:pt idx="11">
                  <c:v>1438</c:v>
                </c:pt>
                <c:pt idx="12">
                  <c:v>1465</c:v>
                </c:pt>
                <c:pt idx="13">
                  <c:v>1502</c:v>
                </c:pt>
                <c:pt idx="14">
                  <c:v>1585</c:v>
                </c:pt>
                <c:pt idx="15">
                  <c:v>1597</c:v>
                </c:pt>
                <c:pt idx="16">
                  <c:v>1624</c:v>
                </c:pt>
                <c:pt idx="17">
                  <c:v>1650</c:v>
                </c:pt>
                <c:pt idx="18">
                  <c:v>1670</c:v>
                </c:pt>
                <c:pt idx="19">
                  <c:v>1674</c:v>
                </c:pt>
                <c:pt idx="20">
                  <c:v>1676</c:v>
                </c:pt>
                <c:pt idx="21">
                  <c:v>1772</c:v>
                </c:pt>
                <c:pt idx="22">
                  <c:v>1802</c:v>
                </c:pt>
                <c:pt idx="23">
                  <c:v>1832</c:v>
                </c:pt>
                <c:pt idx="24">
                  <c:v>1821</c:v>
                </c:pt>
                <c:pt idx="25">
                  <c:v>1833</c:v>
                </c:pt>
                <c:pt idx="26">
                  <c:v>1781</c:v>
                </c:pt>
                <c:pt idx="27">
                  <c:v>1828</c:v>
                </c:pt>
                <c:pt idx="28">
                  <c:v>1885</c:v>
                </c:pt>
                <c:pt idx="29">
                  <c:v>1892</c:v>
                </c:pt>
                <c:pt idx="30">
                  <c:v>1861</c:v>
                </c:pt>
                <c:pt idx="31">
                  <c:v>1860</c:v>
                </c:pt>
                <c:pt idx="32">
                  <c:v>1820</c:v>
                </c:pt>
                <c:pt idx="33">
                  <c:v>1781</c:v>
                </c:pt>
                <c:pt idx="34">
                  <c:v>1805</c:v>
                </c:pt>
                <c:pt idx="35">
                  <c:v>1825</c:v>
                </c:pt>
                <c:pt idx="36">
                  <c:v>1777</c:v>
                </c:pt>
                <c:pt idx="37">
                  <c:v>1746</c:v>
                </c:pt>
                <c:pt idx="38">
                  <c:v>1744</c:v>
                </c:pt>
                <c:pt idx="39">
                  <c:v>1683</c:v>
                </c:pt>
                <c:pt idx="40">
                  <c:v>1646</c:v>
                </c:pt>
                <c:pt idx="41">
                  <c:v>1656</c:v>
                </c:pt>
                <c:pt idx="42">
                  <c:v>1666</c:v>
                </c:pt>
                <c:pt idx="43">
                  <c:v>1616</c:v>
                </c:pt>
                <c:pt idx="44">
                  <c:v>1558</c:v>
                </c:pt>
                <c:pt idx="45">
                  <c:v>1511</c:v>
                </c:pt>
                <c:pt idx="46">
                  <c:v>1429</c:v>
                </c:pt>
                <c:pt idx="47">
                  <c:v>1403</c:v>
                </c:pt>
                <c:pt idx="48">
                  <c:v>1383</c:v>
                </c:pt>
                <c:pt idx="49">
                  <c:v>1349</c:v>
                </c:pt>
                <c:pt idx="50">
                  <c:v>1399</c:v>
                </c:pt>
                <c:pt idx="51">
                  <c:v>1366</c:v>
                </c:pt>
                <c:pt idx="52">
                  <c:v>1318</c:v>
                </c:pt>
                <c:pt idx="53">
                  <c:v>1240</c:v>
                </c:pt>
                <c:pt idx="54">
                  <c:v>1224</c:v>
                </c:pt>
                <c:pt idx="55">
                  <c:v>1207</c:v>
                </c:pt>
                <c:pt idx="56">
                  <c:v>1193</c:v>
                </c:pt>
                <c:pt idx="57">
                  <c:v>1167</c:v>
                </c:pt>
                <c:pt idx="58">
                  <c:v>1123</c:v>
                </c:pt>
                <c:pt idx="59">
                  <c:v>1045</c:v>
                </c:pt>
                <c:pt idx="60">
                  <c:v>1024</c:v>
                </c:pt>
                <c:pt idx="61">
                  <c:v>982</c:v>
                </c:pt>
                <c:pt idx="62">
                  <c:v>985</c:v>
                </c:pt>
                <c:pt idx="63">
                  <c:v>1003</c:v>
                </c:pt>
                <c:pt idx="64">
                  <c:v>952</c:v>
                </c:pt>
                <c:pt idx="65">
                  <c:v>918</c:v>
                </c:pt>
                <c:pt idx="66">
                  <c:v>834</c:v>
                </c:pt>
                <c:pt idx="67">
                  <c:v>788</c:v>
                </c:pt>
                <c:pt idx="68">
                  <c:v>748</c:v>
                </c:pt>
                <c:pt idx="69">
                  <c:v>759</c:v>
                </c:pt>
                <c:pt idx="70">
                  <c:v>7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rgbClr val="305983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E$2:$E$107</c:f>
              <c:numCache>
                <c:formatCode>General</c:formatCode>
                <c:ptCount val="106"/>
                <c:pt idx="10">
                  <c:v>1489.0133582381427</c:v>
                </c:pt>
                <c:pt idx="11">
                  <c:v>1536.6585710758609</c:v>
                </c:pt>
                <c:pt idx="12">
                  <c:v>1586.3104547602886</c:v>
                </c:pt>
                <c:pt idx="13">
                  <c:v>1638.7589873652551</c:v>
                </c:pt>
                <c:pt idx="14">
                  <c:v>1693.523085677781</c:v>
                </c:pt>
                <c:pt idx="15">
                  <c:v>1749.3825945983685</c:v>
                </c:pt>
                <c:pt idx="16">
                  <c:v>1806.1384933227346</c:v>
                </c:pt>
                <c:pt idx="17">
                  <c:v>1862.4414149520505</c:v>
                </c:pt>
                <c:pt idx="18">
                  <c:v>1916.7861251052313</c:v>
                </c:pt>
                <c:pt idx="19">
                  <c:v>1969.1167545968406</c:v>
                </c:pt>
                <c:pt idx="20">
                  <c:v>2019.361583830326</c:v>
                </c:pt>
                <c:pt idx="21">
                  <c:v>2066.5817071413694</c:v>
                </c:pt>
                <c:pt idx="22">
                  <c:v>2110.3087143467642</c:v>
                </c:pt>
                <c:pt idx="23">
                  <c:v>2150.6648585453836</c:v>
                </c:pt>
                <c:pt idx="24">
                  <c:v>2187.8941664819549</c:v>
                </c:pt>
                <c:pt idx="25">
                  <c:v>2222.2044664862956</c:v>
                </c:pt>
                <c:pt idx="26">
                  <c:v>2253.6071247603572</c:v>
                </c:pt>
                <c:pt idx="27">
                  <c:v>2282.0047982718852</c:v>
                </c:pt>
                <c:pt idx="28">
                  <c:v>2307.1696095755715</c:v>
                </c:pt>
                <c:pt idx="29">
                  <c:v>2329.2269691809834</c:v>
                </c:pt>
                <c:pt idx="30">
                  <c:v>2348.3981570852975</c:v>
                </c:pt>
                <c:pt idx="31">
                  <c:v>2364.8274775730456</c:v>
                </c:pt>
                <c:pt idx="32">
                  <c:v>2378.5807712925471</c:v>
                </c:pt>
                <c:pt idx="33">
                  <c:v>2389.8076447026392</c:v>
                </c:pt>
                <c:pt idx="34">
                  <c:v>2398.702609290754</c:v>
                </c:pt>
                <c:pt idx="35">
                  <c:v>2405.3090688519924</c:v>
                </c:pt>
                <c:pt idx="36">
                  <c:v>2409.7572223255302</c:v>
                </c:pt>
                <c:pt idx="37">
                  <c:v>2412.1534000248585</c:v>
                </c:pt>
                <c:pt idx="38">
                  <c:v>2412.5596992266123</c:v>
                </c:pt>
                <c:pt idx="39">
                  <c:v>2411.1070888266368</c:v>
                </c:pt>
                <c:pt idx="40">
                  <c:v>2407.9286510796333</c:v>
                </c:pt>
                <c:pt idx="41">
                  <c:v>2403.0869531614171</c:v>
                </c:pt>
                <c:pt idx="42">
                  <c:v>2396.6420073806648</c:v>
                </c:pt>
                <c:pt idx="43">
                  <c:v>2388.6872474238439</c:v>
                </c:pt>
                <c:pt idx="44">
                  <c:v>2379.2839086213148</c:v>
                </c:pt>
                <c:pt idx="45">
                  <c:v>2368.4948749344403</c:v>
                </c:pt>
                <c:pt idx="46">
                  <c:v>2356.4078473510149</c:v>
                </c:pt>
                <c:pt idx="47">
                  <c:v>2343.0734068450347</c:v>
                </c:pt>
                <c:pt idx="48">
                  <c:v>2329.1497022912918</c:v>
                </c:pt>
                <c:pt idx="49">
                  <c:v>2314.6955163245343</c:v>
                </c:pt>
                <c:pt idx="50">
                  <c:v>2299.7458731795346</c:v>
                </c:pt>
                <c:pt idx="51">
                  <c:v>2284.348412797844</c:v>
                </c:pt>
                <c:pt idx="52">
                  <c:v>2268.5494810288283</c:v>
                </c:pt>
                <c:pt idx="53">
                  <c:v>2252.3931607174782</c:v>
                </c:pt>
                <c:pt idx="54">
                  <c:v>2235.9259012830057</c:v>
                </c:pt>
                <c:pt idx="55">
                  <c:v>2219.1870040844642</c:v>
                </c:pt>
                <c:pt idx="56">
                  <c:v>2202.2085442544321</c:v>
                </c:pt>
                <c:pt idx="57">
                  <c:v>2185.0146153057758</c:v>
                </c:pt>
                <c:pt idx="58">
                  <c:v>2167.6281263820679</c:v>
                </c:pt>
                <c:pt idx="59">
                  <c:v>2150.0741641454019</c:v>
                </c:pt>
                <c:pt idx="60">
                  <c:v>2132.3831961562933</c:v>
                </c:pt>
                <c:pt idx="61">
                  <c:v>2114.5896199441631</c:v>
                </c:pt>
                <c:pt idx="62">
                  <c:v>2096.7092931008642</c:v>
                </c:pt>
                <c:pt idx="63">
                  <c:v>2078.7607832385324</c:v>
                </c:pt>
                <c:pt idx="64">
                  <c:v>2060.7723134224748</c:v>
                </c:pt>
                <c:pt idx="65">
                  <c:v>2042.7571546435847</c:v>
                </c:pt>
                <c:pt idx="66">
                  <c:v>2024.7250447700098</c:v>
                </c:pt>
                <c:pt idx="67">
                  <c:v>2006.6950739536239</c:v>
                </c:pt>
                <c:pt idx="68">
                  <c:v>1988.6871744209366</c:v>
                </c:pt>
                <c:pt idx="69">
                  <c:v>1970.7128970244712</c:v>
                </c:pt>
                <c:pt idx="70">
                  <c:v>1952.7848083892427</c:v>
                </c:pt>
                <c:pt idx="71">
                  <c:v>1934.9163262632803</c:v>
                </c:pt>
                <c:pt idx="72">
                  <c:v>1917.1185536922528</c:v>
                </c:pt>
                <c:pt idx="73">
                  <c:v>1899.4016265065738</c:v>
                </c:pt>
                <c:pt idx="74">
                  <c:v>1881.7749528868362</c:v>
                </c:pt>
                <c:pt idx="75">
                  <c:v>1864.2472050336164</c:v>
                </c:pt>
                <c:pt idx="76">
                  <c:v>1846.8262084778439</c:v>
                </c:pt>
                <c:pt idx="77">
                  <c:v>1829.5190348033725</c:v>
                </c:pt>
                <c:pt idx="78">
                  <c:v>1812.3320345450568</c:v>
                </c:pt>
                <c:pt idx="79">
                  <c:v>1795.2707989246978</c:v>
                </c:pt>
                <c:pt idx="80">
                  <c:v>1778.3402521878743</c:v>
                </c:pt>
                <c:pt idx="81">
                  <c:v>1761.5447009916561</c:v>
                </c:pt>
                <c:pt idx="82">
                  <c:v>1744.8878432079011</c:v>
                </c:pt>
                <c:pt idx="83">
                  <c:v>1728.3728069481469</c:v>
                </c:pt>
                <c:pt idx="84">
                  <c:v>1712.0021937198203</c:v>
                </c:pt>
                <c:pt idx="85">
                  <c:v>1695.7780965190041</c:v>
                </c:pt>
                <c:pt idx="86">
                  <c:v>1679.7021083152752</c:v>
                </c:pt>
                <c:pt idx="87">
                  <c:v>1663.7753661548199</c:v>
                </c:pt>
                <c:pt idx="88">
                  <c:v>1647.9985905555657</c:v>
                </c:pt>
                <c:pt idx="89">
                  <c:v>1632.372115994777</c:v>
                </c:pt>
                <c:pt idx="90">
                  <c:v>1616.8959123403911</c:v>
                </c:pt>
                <c:pt idx="91">
                  <c:v>1601.5696045297864</c:v>
                </c:pt>
                <c:pt idx="92">
                  <c:v>1586.3925059786125</c:v>
                </c:pt>
                <c:pt idx="93">
                  <c:v>1571.3636421537481</c:v>
                </c:pt>
                <c:pt idx="94">
                  <c:v>1556.4817712153681</c:v>
                </c:pt>
                <c:pt idx="95">
                  <c:v>1541.7454102369252</c:v>
                </c:pt>
                <c:pt idx="96">
                  <c:v>1527.1528618889179</c:v>
                </c:pt>
                <c:pt idx="97">
                  <c:v>1512.7022390676784</c:v>
                </c:pt>
                <c:pt idx="98">
                  <c:v>1498.3914844767855</c:v>
                </c:pt>
                <c:pt idx="99">
                  <c:v>1484.2183880766661</c:v>
                </c:pt>
                <c:pt idx="100">
                  <c:v>1470.1806087597527</c:v>
                </c:pt>
                <c:pt idx="101">
                  <c:v>1456.2756952663613</c:v>
                </c:pt>
                <c:pt idx="102">
                  <c:v>1442.501103792124</c:v>
                </c:pt>
                <c:pt idx="103">
                  <c:v>1428.8542155778123</c:v>
                </c:pt>
                <c:pt idx="104">
                  <c:v>1415.3323535467998</c:v>
                </c:pt>
                <c:pt idx="105">
                  <c:v>1401.93279801088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AE2-42EA-A44F-23A358B5B2EF}"/>
            </c:ext>
          </c:extLst>
        </c:ser>
        <c:ser>
          <c:idx val="4"/>
          <c:order val="1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1489.0133582381427</c:v>
                </c:pt>
                <c:pt idx="11">
                  <c:v>1536.6585710758609</c:v>
                </c:pt>
                <c:pt idx="12">
                  <c:v>1585.5007310874776</c:v>
                </c:pt>
                <c:pt idx="13">
                  <c:v>1635.7681414344906</c:v>
                </c:pt>
                <c:pt idx="14">
                  <c:v>1686.6459413709727</c:v>
                </c:pt>
                <c:pt idx="15">
                  <c:v>1736.6972062994382</c:v>
                </c:pt>
                <c:pt idx="16">
                  <c:v>1785.5668310482292</c:v>
                </c:pt>
                <c:pt idx="17">
                  <c:v>1831.7803073311661</c:v>
                </c:pt>
                <c:pt idx="18">
                  <c:v>1873.7327383444128</c:v>
                </c:pt>
                <c:pt idx="19">
                  <c:v>1911.3017099485949</c:v>
                </c:pt>
                <c:pt idx="20">
                  <c:v>1944.3998321745607</c:v>
                </c:pt>
                <c:pt idx="21">
                  <c:v>1972.1209077789231</c:v>
                </c:pt>
                <c:pt idx="22">
                  <c:v>1994.0819013153232</c:v>
                </c:pt>
                <c:pt idx="23">
                  <c:v>2010.5444498965285</c:v>
                </c:pt>
                <c:pt idx="24">
                  <c:v>2021.9285856149725</c:v>
                </c:pt>
                <c:pt idx="25">
                  <c:v>2028.6357887529773</c:v>
                </c:pt>
                <c:pt idx="26">
                  <c:v>2030.8819785750802</c:v>
                </c:pt>
                <c:pt idx="27">
                  <c:v>2028.7826740386824</c:v>
                </c:pt>
                <c:pt idx="28">
                  <c:v>2022.3257505588208</c:v>
                </c:pt>
                <c:pt idx="29">
                  <c:v>2011.8501062717439</c:v>
                </c:pt>
                <c:pt idx="30">
                  <c:v>1997.7838124829086</c:v>
                </c:pt>
                <c:pt idx="31">
                  <c:v>1980.4702853067292</c:v>
                </c:pt>
                <c:pt idx="32">
                  <c:v>1960.1674757716457</c:v>
                </c:pt>
                <c:pt idx="33">
                  <c:v>1937.2111266774778</c:v>
                </c:pt>
                <c:pt idx="34">
                  <c:v>1911.9733800059585</c:v>
                </c:pt>
                <c:pt idx="35">
                  <c:v>1884.6620217178938</c:v>
                </c:pt>
                <c:pt idx="36">
                  <c:v>1855.5572428842452</c:v>
                </c:pt>
                <c:pt idx="37">
                  <c:v>1824.9018650836254</c:v>
                </c:pt>
                <c:pt idx="38">
                  <c:v>1792.882626471993</c:v>
                </c:pt>
                <c:pt idx="39">
                  <c:v>1759.7429516427958</c:v>
                </c:pt>
                <c:pt idx="40">
                  <c:v>1725.7172894635737</c:v>
                </c:pt>
                <c:pt idx="41">
                  <c:v>1690.9588133222865</c:v>
                </c:pt>
                <c:pt idx="42">
                  <c:v>1655.6076905676955</c:v>
                </c:pt>
                <c:pt idx="43">
                  <c:v>1619.8279713073875</c:v>
                </c:pt>
                <c:pt idx="44">
                  <c:v>1583.7418073526183</c:v>
                </c:pt>
                <c:pt idx="45">
                  <c:v>1547.4637668883981</c:v>
                </c:pt>
                <c:pt idx="46">
                  <c:v>1511.1247525038402</c:v>
                </c:pt>
                <c:pt idx="47">
                  <c:v>1474.8108836935994</c:v>
                </c:pt>
                <c:pt idx="48">
                  <c:v>1438.978144907865</c:v>
                </c:pt>
                <c:pt idx="49">
                  <c:v>1403.6856794304822</c:v>
                </c:pt>
                <c:pt idx="50">
                  <c:v>1368.9641255580555</c:v>
                </c:pt>
                <c:pt idx="51">
                  <c:v>1334.852478302394</c:v>
                </c:pt>
                <c:pt idx="52">
                  <c:v>1301.3848468994026</c:v>
                </c:pt>
                <c:pt idx="53">
                  <c:v>1268.5899520742094</c:v>
                </c:pt>
                <c:pt idx="54">
                  <c:v>1236.4961425531139</c:v>
                </c:pt>
                <c:pt idx="55">
                  <c:v>1205.1223348463179</c:v>
                </c:pt>
                <c:pt idx="56">
                  <c:v>1174.4781906348851</c:v>
                </c:pt>
                <c:pt idx="57">
                  <c:v>1144.5636430592238</c:v>
                </c:pt>
                <c:pt idx="58">
                  <c:v>1115.3760255407503</c:v>
                </c:pt>
                <c:pt idx="59">
                  <c:v>1086.9137153317949</c:v>
                </c:pt>
                <c:pt idx="60">
                  <c:v>1059.1795853458041</c:v>
                </c:pt>
                <c:pt idx="61">
                  <c:v>1032.1797728807048</c:v>
                </c:pt>
                <c:pt idx="62">
                  <c:v>1005.9014830149531</c:v>
                </c:pt>
                <c:pt idx="63">
                  <c:v>980.33444333597527</c:v>
                </c:pt>
                <c:pt idx="64">
                  <c:v>955.47794715360544</c:v>
                </c:pt>
                <c:pt idx="65">
                  <c:v>931.31629456528026</c:v>
                </c:pt>
                <c:pt idx="66">
                  <c:v>907.83031536295243</c:v>
                </c:pt>
                <c:pt idx="67">
                  <c:v>885.01042587297877</c:v>
                </c:pt>
                <c:pt idx="68">
                  <c:v>862.84830857946042</c:v>
                </c:pt>
                <c:pt idx="69">
                  <c:v>841.32769772791039</c:v>
                </c:pt>
                <c:pt idx="70">
                  <c:v>820.43388213007427</c:v>
                </c:pt>
                <c:pt idx="71">
                  <c:v>800.15362797435125</c:v>
                </c:pt>
                <c:pt idx="72">
                  <c:v>780.47204692781702</c:v>
                </c:pt>
                <c:pt idx="73">
                  <c:v>761.3739126944937</c:v>
                </c:pt>
                <c:pt idx="74">
                  <c:v>742.84395975791608</c:v>
                </c:pt>
                <c:pt idx="75">
                  <c:v>724.8669258459546</c:v>
                </c:pt>
                <c:pt idx="76">
                  <c:v>707.42747314644134</c:v>
                </c:pt>
                <c:pt idx="77">
                  <c:v>690.51030326744535</c:v>
                </c:pt>
                <c:pt idx="78">
                  <c:v>674.1002036100906</c:v>
                </c:pt>
                <c:pt idx="79">
                  <c:v>658.18201618577052</c:v>
                </c:pt>
                <c:pt idx="80">
                  <c:v>642.74073241279882</c:v>
                </c:pt>
                <c:pt idx="81">
                  <c:v>627.7615427830001</c:v>
                </c:pt>
                <c:pt idx="82">
                  <c:v>613.22984192190586</c:v>
                </c:pt>
                <c:pt idx="83">
                  <c:v>599.13126088307354</c:v>
                </c:pt>
                <c:pt idx="84">
                  <c:v>585.45170081012486</c:v>
                </c:pt>
                <c:pt idx="85">
                  <c:v>572.17733825163918</c:v>
                </c:pt>
                <c:pt idx="86">
                  <c:v>559.2946185141767</c:v>
                </c:pt>
                <c:pt idx="87">
                  <c:v>546.79028237164289</c:v>
                </c:pt>
                <c:pt idx="88">
                  <c:v>534.65138618450135</c:v>
                </c:pt>
                <c:pt idx="89">
                  <c:v>522.86531136030715</c:v>
                </c:pt>
                <c:pt idx="90">
                  <c:v>511.41976355112138</c:v>
                </c:pt>
                <c:pt idx="91">
                  <c:v>500.3027691616474</c:v>
                </c:pt>
                <c:pt idx="92">
                  <c:v>489.50268449461419</c:v>
                </c:pt>
                <c:pt idx="93">
                  <c:v>479.00819446693669</c:v>
                </c:pt>
                <c:pt idx="94">
                  <c:v>468.80830776803589</c:v>
                </c:pt>
                <c:pt idx="95">
                  <c:v>458.89235747870634</c:v>
                </c:pt>
                <c:pt idx="96">
                  <c:v>449.25000202330295</c:v>
                </c:pt>
                <c:pt idx="97">
                  <c:v>439.87122399093863</c:v>
                </c:pt>
                <c:pt idx="98">
                  <c:v>430.7463241138131</c:v>
                </c:pt>
                <c:pt idx="99">
                  <c:v>421.86591335833612</c:v>
                </c:pt>
                <c:pt idx="100">
                  <c:v>413.22090957970408</c:v>
                </c:pt>
                <c:pt idx="101">
                  <c:v>404.80253383784827</c:v>
                </c:pt>
                <c:pt idx="102">
                  <c:v>396.60230392755659</c:v>
                </c:pt>
                <c:pt idx="103">
                  <c:v>388.61202849471664</c:v>
                </c:pt>
                <c:pt idx="104">
                  <c:v>380.82380090155664</c:v>
                </c:pt>
                <c:pt idx="105">
                  <c:v>373.229992856180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2.5682402275193011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 - 34 let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9.12 - 4.1</c:v>
                </c:pt>
                <c:pt idx="1">
                  <c:v>5.1 - 11.1</c:v>
                </c:pt>
                <c:pt idx="2">
                  <c:v>12.1 - 18.1</c:v>
                </c:pt>
                <c:pt idx="3">
                  <c:v>19.1 - 25.1</c:v>
                </c:pt>
                <c:pt idx="4">
                  <c:v>26.1 - 1.2</c:v>
                </c:pt>
                <c:pt idx="5">
                  <c:v>2.2 - 8.2</c:v>
                </c:pt>
                <c:pt idx="6">
                  <c:v>9.2 - 15.2</c:v>
                </c:pt>
                <c:pt idx="7">
                  <c:v>16.2 - 22.2</c:v>
                </c:pt>
                <c:pt idx="8">
                  <c:v>23.2 - 1.3</c:v>
                </c:pt>
                <c:pt idx="9">
                  <c:v>2.3 - 8.3</c:v>
                </c:pt>
                <c:pt idx="10">
                  <c:v>9.3 - 15.3</c:v>
                </c:pt>
                <c:pt idx="11">
                  <c:v>16.3 - 22.3</c:v>
                </c:pt>
                <c:pt idx="12">
                  <c:v>23.3 - 29.3</c:v>
                </c:pt>
                <c:pt idx="13">
                  <c:v>30.3 - 5.4</c:v>
                </c:pt>
                <c:pt idx="14">
                  <c:v>6.4 - 12.4</c:v>
                </c:pt>
                <c:pt idx="15">
                  <c:v>13.4 - 19.4</c:v>
                </c:pt>
                <c:pt idx="16">
                  <c:v>20.4 - 26.4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770.68427307596846</c:v>
                </c:pt>
                <c:pt idx="1">
                  <c:v>903.2062124303535</c:v>
                </c:pt>
                <c:pt idx="2">
                  <c:v>498.80159457117776</c:v>
                </c:pt>
                <c:pt idx="3">
                  <c:v>439.35250028136016</c:v>
                </c:pt>
                <c:pt idx="4">
                  <c:v>454.7532620267296</c:v>
                </c:pt>
                <c:pt idx="5">
                  <c:v>487.17025003621347</c:v>
                </c:pt>
                <c:pt idx="6">
                  <c:v>518.77950578632476</c:v>
                </c:pt>
                <c:pt idx="7">
                  <c:v>673.21791377835086</c:v>
                </c:pt>
                <c:pt idx="8">
                  <c:v>821.94834713747787</c:v>
                </c:pt>
                <c:pt idx="9">
                  <c:v>826.31010133808945</c:v>
                </c:pt>
                <c:pt idx="10">
                  <c:v>761.09918359808125</c:v>
                </c:pt>
                <c:pt idx="11">
                  <c:v>617.21514379518942</c:v>
                </c:pt>
                <c:pt idx="12">
                  <c:v>484.53165798892991</c:v>
                </c:pt>
                <c:pt idx="13">
                  <c:v>323.7390895565066</c:v>
                </c:pt>
                <c:pt idx="14">
                  <c:v>303.11499253386154</c:v>
                </c:pt>
                <c:pt idx="15">
                  <c:v>205.81017968811847</c:v>
                </c:pt>
                <c:pt idx="16">
                  <c:v>163.808102200747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5 - 49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9.12 - 4.1</c:v>
                </c:pt>
                <c:pt idx="1">
                  <c:v>5.1 - 11.1</c:v>
                </c:pt>
                <c:pt idx="2">
                  <c:v>12.1 - 18.1</c:v>
                </c:pt>
                <c:pt idx="3">
                  <c:v>19.1 - 25.1</c:v>
                </c:pt>
                <c:pt idx="4">
                  <c:v>26.1 - 1.2</c:v>
                </c:pt>
                <c:pt idx="5">
                  <c:v>2.2 - 8.2</c:v>
                </c:pt>
                <c:pt idx="6">
                  <c:v>9.2 - 15.2</c:v>
                </c:pt>
                <c:pt idx="7">
                  <c:v>16.2 - 22.2</c:v>
                </c:pt>
                <c:pt idx="8">
                  <c:v>23.2 - 1.3</c:v>
                </c:pt>
                <c:pt idx="9">
                  <c:v>2.3 - 8.3</c:v>
                </c:pt>
                <c:pt idx="10">
                  <c:v>9.3 - 15.3</c:v>
                </c:pt>
                <c:pt idx="11">
                  <c:v>16.3 - 22.3</c:v>
                </c:pt>
                <c:pt idx="12">
                  <c:v>23.3 - 29.3</c:v>
                </c:pt>
                <c:pt idx="13">
                  <c:v>30.3 - 5.4</c:v>
                </c:pt>
                <c:pt idx="14">
                  <c:v>6.4 - 12.4</c:v>
                </c:pt>
                <c:pt idx="15">
                  <c:v>13.4 - 19.4</c:v>
                </c:pt>
                <c:pt idx="16">
                  <c:v>20.4 - 26.4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825.26897259476743</c:v>
                </c:pt>
                <c:pt idx="1">
                  <c:v>902.43502649935397</c:v>
                </c:pt>
                <c:pt idx="2">
                  <c:v>571.79689609545346</c:v>
                </c:pt>
                <c:pt idx="3">
                  <c:v>509.67604510710231</c:v>
                </c:pt>
                <c:pt idx="4">
                  <c:v>512.36834457632347</c:v>
                </c:pt>
                <c:pt idx="5">
                  <c:v>555.56391400162045</c:v>
                </c:pt>
                <c:pt idx="6">
                  <c:v>599.86807732600846</c:v>
                </c:pt>
                <c:pt idx="7">
                  <c:v>744.42080323962853</c:v>
                </c:pt>
                <c:pt idx="8">
                  <c:v>894.87283240198303</c:v>
                </c:pt>
                <c:pt idx="9">
                  <c:v>886.87511927282628</c:v>
                </c:pt>
                <c:pt idx="10">
                  <c:v>812.36177219820752</c:v>
                </c:pt>
                <c:pt idx="11">
                  <c:v>642.35097924474701</c:v>
                </c:pt>
                <c:pt idx="12">
                  <c:v>485.40575724485939</c:v>
                </c:pt>
                <c:pt idx="13">
                  <c:v>312.46510898665827</c:v>
                </c:pt>
                <c:pt idx="14">
                  <c:v>301.45835527425442</c:v>
                </c:pt>
                <c:pt idx="15">
                  <c:v>209.44506164969869</c:v>
                </c:pt>
                <c:pt idx="16">
                  <c:v>170.644275181512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50 - 64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9.12 - 4.1</c:v>
                </c:pt>
                <c:pt idx="1">
                  <c:v>5.1 - 11.1</c:v>
                </c:pt>
                <c:pt idx="2">
                  <c:v>12.1 - 18.1</c:v>
                </c:pt>
                <c:pt idx="3">
                  <c:v>19.1 - 25.1</c:v>
                </c:pt>
                <c:pt idx="4">
                  <c:v>26.1 - 1.2</c:v>
                </c:pt>
                <c:pt idx="5">
                  <c:v>2.2 - 8.2</c:v>
                </c:pt>
                <c:pt idx="6">
                  <c:v>9.2 - 15.2</c:v>
                </c:pt>
                <c:pt idx="7">
                  <c:v>16.2 - 22.2</c:v>
                </c:pt>
                <c:pt idx="8">
                  <c:v>23.2 - 1.3</c:v>
                </c:pt>
                <c:pt idx="9">
                  <c:v>2.3 - 8.3</c:v>
                </c:pt>
                <c:pt idx="10">
                  <c:v>9.3 - 15.3</c:v>
                </c:pt>
                <c:pt idx="11">
                  <c:v>16.3 - 22.3</c:v>
                </c:pt>
                <c:pt idx="12">
                  <c:v>23.3 - 29.3</c:v>
                </c:pt>
                <c:pt idx="13">
                  <c:v>30.3 - 5.4</c:v>
                </c:pt>
                <c:pt idx="14">
                  <c:v>6.4 - 12.4</c:v>
                </c:pt>
                <c:pt idx="15">
                  <c:v>13.4 - 19.4</c:v>
                </c:pt>
                <c:pt idx="16">
                  <c:v>20.4 - 26.4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797.81891664959164</c:v>
                </c:pt>
                <c:pt idx="1">
                  <c:v>881.23159497495021</c:v>
                </c:pt>
                <c:pt idx="2">
                  <c:v>593.48045300968545</c:v>
                </c:pt>
                <c:pt idx="3">
                  <c:v>511.2227967201386</c:v>
                </c:pt>
                <c:pt idx="4">
                  <c:v>506.35161682997619</c:v>
                </c:pt>
                <c:pt idx="5">
                  <c:v>522.92367212640511</c:v>
                </c:pt>
                <c:pt idx="6">
                  <c:v>557.92586164643808</c:v>
                </c:pt>
                <c:pt idx="7">
                  <c:v>692.31016459566126</c:v>
                </c:pt>
                <c:pt idx="8">
                  <c:v>823.53071153374788</c:v>
                </c:pt>
                <c:pt idx="9">
                  <c:v>837.08966586718964</c:v>
                </c:pt>
                <c:pt idx="10">
                  <c:v>801.78616625085795</c:v>
                </c:pt>
                <c:pt idx="11">
                  <c:v>651.78395664348523</c:v>
                </c:pt>
                <c:pt idx="12">
                  <c:v>507.00445537195674</c:v>
                </c:pt>
                <c:pt idx="13">
                  <c:v>325.41490400260295</c:v>
                </c:pt>
                <c:pt idx="14">
                  <c:v>314.76861393338203</c:v>
                </c:pt>
                <c:pt idx="15">
                  <c:v>205.14195723003598</c:v>
                </c:pt>
                <c:pt idx="16">
                  <c:v>164.264220832178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65 - 74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9.12 - 4.1</c:v>
                </c:pt>
                <c:pt idx="1">
                  <c:v>5.1 - 11.1</c:v>
                </c:pt>
                <c:pt idx="2">
                  <c:v>12.1 - 18.1</c:v>
                </c:pt>
                <c:pt idx="3">
                  <c:v>19.1 - 25.1</c:v>
                </c:pt>
                <c:pt idx="4">
                  <c:v>26.1 - 1.2</c:v>
                </c:pt>
                <c:pt idx="5">
                  <c:v>2.2 - 8.2</c:v>
                </c:pt>
                <c:pt idx="6">
                  <c:v>9.2 - 15.2</c:v>
                </c:pt>
                <c:pt idx="7">
                  <c:v>16.2 - 22.2</c:v>
                </c:pt>
                <c:pt idx="8">
                  <c:v>23.2 - 1.3</c:v>
                </c:pt>
                <c:pt idx="9">
                  <c:v>2.3 - 8.3</c:v>
                </c:pt>
                <c:pt idx="10">
                  <c:v>9.3 - 15.3</c:v>
                </c:pt>
                <c:pt idx="11">
                  <c:v>16.3 - 22.3</c:v>
                </c:pt>
                <c:pt idx="12">
                  <c:v>23.3 - 29.3</c:v>
                </c:pt>
                <c:pt idx="13">
                  <c:v>30.3 - 5.4</c:v>
                </c:pt>
                <c:pt idx="14">
                  <c:v>6.4 - 12.4</c:v>
                </c:pt>
                <c:pt idx="15">
                  <c:v>13.4 - 19.4</c:v>
                </c:pt>
                <c:pt idx="16">
                  <c:v>20.4 - 26.4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585.22460002761409</c:v>
                </c:pt>
                <c:pt idx="1">
                  <c:v>684.76426806750146</c:v>
                </c:pt>
                <c:pt idx="2">
                  <c:v>407.36375117891237</c:v>
                </c:pt>
                <c:pt idx="3">
                  <c:v>328.49650636047494</c:v>
                </c:pt>
                <c:pt idx="4">
                  <c:v>320.92961936998194</c:v>
                </c:pt>
                <c:pt idx="5">
                  <c:v>332.16293613937358</c:v>
                </c:pt>
                <c:pt idx="6">
                  <c:v>346.51661867804074</c:v>
                </c:pt>
                <c:pt idx="7">
                  <c:v>418.9871136694635</c:v>
                </c:pt>
                <c:pt idx="8">
                  <c:v>512.75410503619128</c:v>
                </c:pt>
                <c:pt idx="9">
                  <c:v>530.85222649798902</c:v>
                </c:pt>
                <c:pt idx="10">
                  <c:v>488.80529775700211</c:v>
                </c:pt>
                <c:pt idx="11">
                  <c:v>420.07924168870989</c:v>
                </c:pt>
                <c:pt idx="12">
                  <c:v>340.74394200488115</c:v>
                </c:pt>
                <c:pt idx="13">
                  <c:v>227.08461885902221</c:v>
                </c:pt>
                <c:pt idx="14">
                  <c:v>211.95084487803618</c:v>
                </c:pt>
                <c:pt idx="15">
                  <c:v>143.61483453090344</c:v>
                </c:pt>
                <c:pt idx="16">
                  <c:v>107.418591607307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75+ le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9.12 - 4.1</c:v>
                </c:pt>
                <c:pt idx="1">
                  <c:v>5.1 - 11.1</c:v>
                </c:pt>
                <c:pt idx="2">
                  <c:v>12.1 - 18.1</c:v>
                </c:pt>
                <c:pt idx="3">
                  <c:v>19.1 - 25.1</c:v>
                </c:pt>
                <c:pt idx="4">
                  <c:v>26.1 - 1.2</c:v>
                </c:pt>
                <c:pt idx="5">
                  <c:v>2.2 - 8.2</c:v>
                </c:pt>
                <c:pt idx="6">
                  <c:v>9.2 - 15.2</c:v>
                </c:pt>
                <c:pt idx="7">
                  <c:v>16.2 - 22.2</c:v>
                </c:pt>
                <c:pt idx="8">
                  <c:v>23.2 - 1.3</c:v>
                </c:pt>
                <c:pt idx="9">
                  <c:v>2.3 - 8.3</c:v>
                </c:pt>
                <c:pt idx="10">
                  <c:v>9.3 - 15.3</c:v>
                </c:pt>
                <c:pt idx="11">
                  <c:v>16.3 - 22.3</c:v>
                </c:pt>
                <c:pt idx="12">
                  <c:v>23.3 - 29.3</c:v>
                </c:pt>
                <c:pt idx="13">
                  <c:v>30.3 - 5.4</c:v>
                </c:pt>
                <c:pt idx="14">
                  <c:v>6.4 - 12.4</c:v>
                </c:pt>
                <c:pt idx="15">
                  <c:v>13.4 - 19.4</c:v>
                </c:pt>
                <c:pt idx="16">
                  <c:v>20.4 - 26.4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650.08961680724201</c:v>
                </c:pt>
                <c:pt idx="1">
                  <c:v>819.32004203693327</c:v>
                </c:pt>
                <c:pt idx="2">
                  <c:v>532.28735279130262</c:v>
                </c:pt>
                <c:pt idx="3">
                  <c:v>432.8438831674577</c:v>
                </c:pt>
                <c:pt idx="4">
                  <c:v>396.71471728045128</c:v>
                </c:pt>
                <c:pt idx="5">
                  <c:v>392.47807242073719</c:v>
                </c:pt>
                <c:pt idx="6">
                  <c:v>384.3578364396185</c:v>
                </c:pt>
                <c:pt idx="7">
                  <c:v>448.14287849420305</c:v>
                </c:pt>
                <c:pt idx="8">
                  <c:v>524.2848013896205</c:v>
                </c:pt>
                <c:pt idx="9">
                  <c:v>523.34332475412839</c:v>
                </c:pt>
                <c:pt idx="10">
                  <c:v>476.26949297952729</c:v>
                </c:pt>
                <c:pt idx="11">
                  <c:v>406.71790653255403</c:v>
                </c:pt>
                <c:pt idx="12">
                  <c:v>326.57470793629557</c:v>
                </c:pt>
                <c:pt idx="13">
                  <c:v>226.30744625639508</c:v>
                </c:pt>
                <c:pt idx="14">
                  <c:v>187.47153504234913</c:v>
                </c:pt>
                <c:pt idx="15">
                  <c:v>141.69223364154951</c:v>
                </c:pt>
                <c:pt idx="16">
                  <c:v>98.972731306098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9.12 - 4.1</c:v>
                </c:pt>
                <c:pt idx="1">
                  <c:v>5.1 - 11.1</c:v>
                </c:pt>
                <c:pt idx="2">
                  <c:v>12.1 - 18.1</c:v>
                </c:pt>
                <c:pt idx="3">
                  <c:v>19.1 - 25.1</c:v>
                </c:pt>
                <c:pt idx="4">
                  <c:v>26.1 - 1.2</c:v>
                </c:pt>
                <c:pt idx="5">
                  <c:v>2.2 - 8.2</c:v>
                </c:pt>
                <c:pt idx="6">
                  <c:v>9.2 - 15.2</c:v>
                </c:pt>
                <c:pt idx="7">
                  <c:v>16.2 - 22.2</c:v>
                </c:pt>
                <c:pt idx="8">
                  <c:v>23.2 - 1.3</c:v>
                </c:pt>
                <c:pt idx="9">
                  <c:v>2.3 - 8.3</c:v>
                </c:pt>
                <c:pt idx="10">
                  <c:v>9.3 - 15.3</c:v>
                </c:pt>
                <c:pt idx="11">
                  <c:v>16.3 - 22.3</c:v>
                </c:pt>
                <c:pt idx="12">
                  <c:v>23.3 - 29.3</c:v>
                </c:pt>
                <c:pt idx="13">
                  <c:v>30.3 - 5.4</c:v>
                </c:pt>
                <c:pt idx="14">
                  <c:v>6.4 - 12.4</c:v>
                </c:pt>
                <c:pt idx="15">
                  <c:v>13.4 - 19.4</c:v>
                </c:pt>
                <c:pt idx="16">
                  <c:v>20.4 - 26.4</c:v>
                </c:pt>
              </c:strCache>
            </c:strRef>
          </c:cat>
          <c:val>
            <c:numRef>
              <c:f>List1!$B$7:$R$7</c:f>
              <c:numCache>
                <c:formatCode>General</c:formatCode>
                <c:ptCount val="17"/>
                <c:pt idx="0">
                  <c:v>684.40637261911161</c:v>
                </c:pt>
                <c:pt idx="1">
                  <c:v>784.70617795744454</c:v>
                </c:pt>
                <c:pt idx="2">
                  <c:v>502.05074107866488</c:v>
                </c:pt>
                <c:pt idx="3">
                  <c:v>435.32135352558413</c:v>
                </c:pt>
                <c:pt idx="4">
                  <c:v>435.73280154300784</c:v>
                </c:pt>
                <c:pt idx="5">
                  <c:v>459.62483982749791</c:v>
                </c:pt>
                <c:pt idx="6">
                  <c:v>491.93286028656377</c:v>
                </c:pt>
                <c:pt idx="7">
                  <c:v>615.18959477887847</c:v>
                </c:pt>
                <c:pt idx="8">
                  <c:v>740.28849425829469</c:v>
                </c:pt>
                <c:pt idx="9">
                  <c:v>736.00569444056612</c:v>
                </c:pt>
                <c:pt idx="10">
                  <c:v>678.61804710126444</c:v>
                </c:pt>
                <c:pt idx="11">
                  <c:v>551.92946209998388</c:v>
                </c:pt>
                <c:pt idx="12">
                  <c:v>430.3652751338895</c:v>
                </c:pt>
                <c:pt idx="13">
                  <c:v>279.94362040030529</c:v>
                </c:pt>
                <c:pt idx="14">
                  <c:v>267.70304188195007</c:v>
                </c:pt>
                <c:pt idx="15">
                  <c:v>188.34968106700569</c:v>
                </c:pt>
                <c:pt idx="16">
                  <c:v>149.000288855211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BB-4442-9D6E-7DAB86DA9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4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713</c:v>
                </c:pt>
                <c:pt idx="1">
                  <c:v>754</c:v>
                </c:pt>
                <c:pt idx="2">
                  <c:v>798</c:v>
                </c:pt>
                <c:pt idx="3">
                  <c:v>726</c:v>
                </c:pt>
                <c:pt idx="4">
                  <c:v>774</c:v>
                </c:pt>
                <c:pt idx="5">
                  <c:v>558</c:v>
                </c:pt>
                <c:pt idx="6">
                  <c:v>591</c:v>
                </c:pt>
                <c:pt idx="7">
                  <c:v>919</c:v>
                </c:pt>
                <c:pt idx="8">
                  <c:v>841</c:v>
                </c:pt>
                <c:pt idx="9">
                  <c:v>837</c:v>
                </c:pt>
                <c:pt idx="10">
                  <c:v>913</c:v>
                </c:pt>
                <c:pt idx="11">
                  <c:v>890</c:v>
                </c:pt>
                <c:pt idx="12">
                  <c:v>711</c:v>
                </c:pt>
                <c:pt idx="13">
                  <c:v>646</c:v>
                </c:pt>
                <c:pt idx="14">
                  <c:v>1144</c:v>
                </c:pt>
                <c:pt idx="15">
                  <c:v>1040</c:v>
                </c:pt>
                <c:pt idx="16">
                  <c:v>859</c:v>
                </c:pt>
                <c:pt idx="17">
                  <c:v>912</c:v>
                </c:pt>
                <c:pt idx="18">
                  <c:v>901</c:v>
                </c:pt>
                <c:pt idx="19">
                  <c:v>743</c:v>
                </c:pt>
                <c:pt idx="20">
                  <c:v>713</c:v>
                </c:pt>
                <c:pt idx="21">
                  <c:v>1036</c:v>
                </c:pt>
                <c:pt idx="22">
                  <c:v>977</c:v>
                </c:pt>
                <c:pt idx="23">
                  <c:v>1026</c:v>
                </c:pt>
                <c:pt idx="24">
                  <c:v>928</c:v>
                </c:pt>
                <c:pt idx="25">
                  <c:v>969</c:v>
                </c:pt>
                <c:pt idx="26">
                  <c:v>746</c:v>
                </c:pt>
                <c:pt idx="27">
                  <c:v>652</c:v>
                </c:pt>
                <c:pt idx="28">
                  <c:v>1027</c:v>
                </c:pt>
                <c:pt idx="29">
                  <c:v>920</c:v>
                </c:pt>
                <c:pt idx="30">
                  <c:v>871</c:v>
                </c:pt>
                <c:pt idx="31">
                  <c:v>811</c:v>
                </c:pt>
                <c:pt idx="32">
                  <c:v>809</c:v>
                </c:pt>
                <c:pt idx="33">
                  <c:v>558</c:v>
                </c:pt>
                <c:pt idx="34">
                  <c:v>564</c:v>
                </c:pt>
                <c:pt idx="35">
                  <c:v>930</c:v>
                </c:pt>
                <c:pt idx="36">
                  <c:v>764</c:v>
                </c:pt>
                <c:pt idx="37">
                  <c:v>743</c:v>
                </c:pt>
                <c:pt idx="38">
                  <c:v>729</c:v>
                </c:pt>
                <c:pt idx="39">
                  <c:v>708</c:v>
                </c:pt>
                <c:pt idx="40">
                  <c:v>561</c:v>
                </c:pt>
                <c:pt idx="41">
                  <c:v>495</c:v>
                </c:pt>
                <c:pt idx="42">
                  <c:v>788</c:v>
                </c:pt>
                <c:pt idx="43">
                  <c:v>656</c:v>
                </c:pt>
                <c:pt idx="44">
                  <c:v>655</c:v>
                </c:pt>
                <c:pt idx="45">
                  <c:v>619</c:v>
                </c:pt>
                <c:pt idx="46">
                  <c:v>507</c:v>
                </c:pt>
                <c:pt idx="47">
                  <c:v>474</c:v>
                </c:pt>
                <c:pt idx="48">
                  <c:v>445</c:v>
                </c:pt>
                <c:pt idx="49">
                  <c:v>368</c:v>
                </c:pt>
                <c:pt idx="50">
                  <c:v>638</c:v>
                </c:pt>
                <c:pt idx="51">
                  <c:v>518</c:v>
                </c:pt>
                <c:pt idx="52">
                  <c:v>432</c:v>
                </c:pt>
                <c:pt idx="53">
                  <c:v>478</c:v>
                </c:pt>
                <c:pt idx="54">
                  <c:v>304</c:v>
                </c:pt>
                <c:pt idx="55">
                  <c:v>281</c:v>
                </c:pt>
                <c:pt idx="56">
                  <c:v>415</c:v>
                </c:pt>
                <c:pt idx="57">
                  <c:v>374</c:v>
                </c:pt>
                <c:pt idx="58">
                  <c:v>386</c:v>
                </c:pt>
                <c:pt idx="59">
                  <c:v>350</c:v>
                </c:pt>
                <c:pt idx="60">
                  <c:v>341</c:v>
                </c:pt>
                <c:pt idx="61">
                  <c:v>263</c:v>
                </c:pt>
                <c:pt idx="62">
                  <c:v>232</c:v>
                </c:pt>
                <c:pt idx="63">
                  <c:v>350</c:v>
                </c:pt>
                <c:pt idx="64">
                  <c:v>328</c:v>
                </c:pt>
                <c:pt idx="65">
                  <c:v>329</c:v>
                </c:pt>
                <c:pt idx="66">
                  <c:v>262</c:v>
                </c:pt>
                <c:pt idx="67">
                  <c:v>251</c:v>
                </c:pt>
                <c:pt idx="68">
                  <c:v>161</c:v>
                </c:pt>
                <c:pt idx="69">
                  <c:v>168</c:v>
                </c:pt>
                <c:pt idx="70">
                  <c:v>1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1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C$2:$C$107</c:f>
              <c:numCache>
                <c:formatCode>General</c:formatCode>
                <c:ptCount val="106"/>
                <c:pt idx="10">
                  <c:v>921.27255682805844</c:v>
                </c:pt>
                <c:pt idx="11">
                  <c:v>950.04655632321374</c:v>
                </c:pt>
                <c:pt idx="12">
                  <c:v>975.06632719252957</c:v>
                </c:pt>
                <c:pt idx="13">
                  <c:v>1001.1407906556851</c:v>
                </c:pt>
                <c:pt idx="14">
                  <c:v>1026.7764563831006</c:v>
                </c:pt>
                <c:pt idx="15">
                  <c:v>1046.0537452376011</c:v>
                </c:pt>
                <c:pt idx="16">
                  <c:v>1060.0018308652943</c:v>
                </c:pt>
                <c:pt idx="17">
                  <c:v>1070.0822871986165</c:v>
                </c:pt>
                <c:pt idx="18">
                  <c:v>1075.5222993314528</c:v>
                </c:pt>
                <c:pt idx="19">
                  <c:v>1076.4434697168908</c:v>
                </c:pt>
                <c:pt idx="20">
                  <c:v>1074.9945532529964</c:v>
                </c:pt>
                <c:pt idx="21">
                  <c:v>1071.730420053631</c:v>
                </c:pt>
                <c:pt idx="22">
                  <c:v>1066.0906548018829</c:v>
                </c:pt>
                <c:pt idx="23">
                  <c:v>1058.4327563004044</c:v>
                </c:pt>
                <c:pt idx="24">
                  <c:v>1049.1434149219567</c:v>
                </c:pt>
                <c:pt idx="25">
                  <c:v>1038.1803048758593</c:v>
                </c:pt>
                <c:pt idx="26">
                  <c:v>1025.8802472121024</c:v>
                </c:pt>
                <c:pt idx="27">
                  <c:v>1012.8237392495212</c:v>
                </c:pt>
                <c:pt idx="28">
                  <c:v>998.95019865655922</c:v>
                </c:pt>
                <c:pt idx="29">
                  <c:v>984.20796425215667</c:v>
                </c:pt>
                <c:pt idx="30">
                  <c:v>968.94063105189707</c:v>
                </c:pt>
                <c:pt idx="31">
                  <c:v>953.28994503586728</c:v>
                </c:pt>
                <c:pt idx="32">
                  <c:v>937.12371862685541</c:v>
                </c:pt>
                <c:pt idx="33">
                  <c:v>920.48531541733246</c:v>
                </c:pt>
                <c:pt idx="34">
                  <c:v>903.57363142278336</c:v>
                </c:pt>
                <c:pt idx="35">
                  <c:v>886.52328910738288</c:v>
                </c:pt>
                <c:pt idx="36">
                  <c:v>869.43813617953856</c:v>
                </c:pt>
                <c:pt idx="37">
                  <c:v>852.29018096333311</c:v>
                </c:pt>
                <c:pt idx="38">
                  <c:v>834.9529185576248</c:v>
                </c:pt>
                <c:pt idx="39">
                  <c:v>817.50050248697517</c:v>
                </c:pt>
                <c:pt idx="40">
                  <c:v>800.03333895816468</c:v>
                </c:pt>
                <c:pt idx="41">
                  <c:v>782.61237937395344</c:v>
                </c:pt>
                <c:pt idx="42">
                  <c:v>765.30262352844875</c:v>
                </c:pt>
                <c:pt idx="43">
                  <c:v>748.1083249377989</c:v>
                </c:pt>
                <c:pt idx="44">
                  <c:v>731.02806413421058</c:v>
                </c:pt>
                <c:pt idx="45">
                  <c:v>714.05721546823042</c:v>
                </c:pt>
                <c:pt idx="46">
                  <c:v>697.18803854894941</c:v>
                </c:pt>
                <c:pt idx="47">
                  <c:v>680.42965736272163</c:v>
                </c:pt>
                <c:pt idx="48">
                  <c:v>663.84713073066087</c:v>
                </c:pt>
                <c:pt idx="49">
                  <c:v>647.49308926131926</c:v>
                </c:pt>
                <c:pt idx="50">
                  <c:v>631.33688608082593</c:v>
                </c:pt>
                <c:pt idx="51">
                  <c:v>615.35322313461802</c:v>
                </c:pt>
                <c:pt idx="52">
                  <c:v>599.5097274153668</c:v>
                </c:pt>
                <c:pt idx="53">
                  <c:v>583.77745633294398</c:v>
                </c:pt>
                <c:pt idx="54">
                  <c:v>568.22486903090612</c:v>
                </c:pt>
                <c:pt idx="55">
                  <c:v>552.90796327732096</c:v>
                </c:pt>
                <c:pt idx="56">
                  <c:v>537.86086035388871</c:v>
                </c:pt>
                <c:pt idx="57">
                  <c:v>523.10349996143486</c:v>
                </c:pt>
                <c:pt idx="58">
                  <c:v>508.6473111610685</c:v>
                </c:pt>
                <c:pt idx="59">
                  <c:v>494.49846949928906</c:v>
                </c:pt>
                <c:pt idx="60">
                  <c:v>480.57936834730208</c:v>
                </c:pt>
                <c:pt idx="61">
                  <c:v>466.8121717251197</c:v>
                </c:pt>
                <c:pt idx="62">
                  <c:v>453.14647159757442</c:v>
                </c:pt>
                <c:pt idx="63">
                  <c:v>439.58132036667666</c:v>
                </c:pt>
                <c:pt idx="64">
                  <c:v>426.41034429363208</c:v>
                </c:pt>
                <c:pt idx="65">
                  <c:v>413.63581237441394</c:v>
                </c:pt>
                <c:pt idx="66">
                  <c:v>401.21997763164109</c:v>
                </c:pt>
                <c:pt idx="67">
                  <c:v>389.1295271286217</c:v>
                </c:pt>
                <c:pt idx="68">
                  <c:v>377.35389991430566</c:v>
                </c:pt>
                <c:pt idx="69">
                  <c:v>365.89369477471337</c:v>
                </c:pt>
                <c:pt idx="70">
                  <c:v>354.76767928234767</c:v>
                </c:pt>
                <c:pt idx="71">
                  <c:v>345.01485770984436</c:v>
                </c:pt>
                <c:pt idx="72">
                  <c:v>336.3770177726401</c:v>
                </c:pt>
                <c:pt idx="73">
                  <c:v>328.56771912978729</c:v>
                </c:pt>
                <c:pt idx="74">
                  <c:v>321.42845670683892</c:v>
                </c:pt>
                <c:pt idx="75">
                  <c:v>314.87405804352602</c:v>
                </c:pt>
                <c:pt idx="76">
                  <c:v>308.86166115864762</c:v>
                </c:pt>
                <c:pt idx="77">
                  <c:v>303.37112527733552</c:v>
                </c:pt>
                <c:pt idx="78">
                  <c:v>298.41228831201443</c:v>
                </c:pt>
                <c:pt idx="79">
                  <c:v>293.96714568024618</c:v>
                </c:pt>
                <c:pt idx="80">
                  <c:v>289.96338165222551</c:v>
                </c:pt>
                <c:pt idx="81">
                  <c:v>286.31296636795742</c:v>
                </c:pt>
                <c:pt idx="82">
                  <c:v>282.94632585218642</c:v>
                </c:pt>
                <c:pt idx="83">
                  <c:v>279.80481217155466</c:v>
                </c:pt>
                <c:pt idx="84">
                  <c:v>276.8039597448078</c:v>
                </c:pt>
                <c:pt idx="85">
                  <c:v>273.87988578734803</c:v>
                </c:pt>
                <c:pt idx="86">
                  <c:v>270.9883103852917</c:v>
                </c:pt>
                <c:pt idx="87">
                  <c:v>268.09773692989256</c:v>
                </c:pt>
                <c:pt idx="88">
                  <c:v>265.18558467156254</c:v>
                </c:pt>
                <c:pt idx="89">
                  <c:v>262.23589740635362</c:v>
                </c:pt>
                <c:pt idx="90">
                  <c:v>259.23700278147589</c:v>
                </c:pt>
                <c:pt idx="91">
                  <c:v>256.18181618637755</c:v>
                </c:pt>
                <c:pt idx="92">
                  <c:v>253.06607577289105</c:v>
                </c:pt>
                <c:pt idx="93">
                  <c:v>249.89479026291519</c:v>
                </c:pt>
                <c:pt idx="94">
                  <c:v>246.67317550157895</c:v>
                </c:pt>
                <c:pt idx="95">
                  <c:v>243.40578245464712</c:v>
                </c:pt>
                <c:pt idx="96">
                  <c:v>240.09673015621956</c:v>
                </c:pt>
                <c:pt idx="97">
                  <c:v>236.74935964209726</c:v>
                </c:pt>
                <c:pt idx="98">
                  <c:v>233.38809097983176</c:v>
                </c:pt>
                <c:pt idx="99">
                  <c:v>230.03116606117692</c:v>
                </c:pt>
                <c:pt idx="100">
                  <c:v>226.68941937322961</c:v>
                </c:pt>
                <c:pt idx="101">
                  <c:v>223.3689852024545</c:v>
                </c:pt>
                <c:pt idx="102">
                  <c:v>220.07255606149556</c:v>
                </c:pt>
                <c:pt idx="103">
                  <c:v>216.80117726014578</c:v>
                </c:pt>
                <c:pt idx="104">
                  <c:v>213.55495083265123</c:v>
                </c:pt>
                <c:pt idx="105">
                  <c:v>210.33335517765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D60-4826-BB40-44692634279D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D$2:$D$107</c:f>
              <c:numCache>
                <c:formatCode>General</c:formatCode>
                <c:ptCount val="106"/>
                <c:pt idx="10">
                  <c:v>884.38390631374205</c:v>
                </c:pt>
                <c:pt idx="11">
                  <c:v>903.6086874591856</c:v>
                </c:pt>
                <c:pt idx="12">
                  <c:v>924.08261141896946</c:v>
                </c:pt>
                <c:pt idx="13">
                  <c:v>945.89512726065004</c:v>
                </c:pt>
                <c:pt idx="14">
                  <c:v>967.35277248696366</c:v>
                </c:pt>
                <c:pt idx="15">
                  <c:v>982.36031537214876</c:v>
                </c:pt>
                <c:pt idx="16">
                  <c:v>992.01054728229064</c:v>
                </c:pt>
                <c:pt idx="17">
                  <c:v>998.06001514534</c:v>
                </c:pt>
                <c:pt idx="18">
                  <c:v>1000.1909763954754</c:v>
                </c:pt>
                <c:pt idx="19">
                  <c:v>998.20846727043681</c:v>
                </c:pt>
                <c:pt idx="20">
                  <c:v>994.39957840552961</c:v>
                </c:pt>
                <c:pt idx="21">
                  <c:v>989.30084216999239</c:v>
                </c:pt>
                <c:pt idx="22">
                  <c:v>982.20181088507525</c:v>
                </c:pt>
                <c:pt idx="23">
                  <c:v>973.1697459405259</c:v>
                </c:pt>
                <c:pt idx="24">
                  <c:v>962.48167363522225</c:v>
                </c:pt>
                <c:pt idx="25">
                  <c:v>950.03545543961809</c:v>
                </c:pt>
                <c:pt idx="26">
                  <c:v>936.16293754776416</c:v>
                </c:pt>
                <c:pt idx="27">
                  <c:v>921.46707436833822</c:v>
                </c:pt>
                <c:pt idx="28">
                  <c:v>905.98284563023481</c:v>
                </c:pt>
                <c:pt idx="29">
                  <c:v>889.56518772734853</c:v>
                </c:pt>
                <c:pt idx="30">
                  <c:v>872.49347271431179</c:v>
                </c:pt>
                <c:pt idx="31">
                  <c:v>854.83214602930821</c:v>
                </c:pt>
                <c:pt idx="32">
                  <c:v>836.39957257307833</c:v>
                </c:pt>
                <c:pt idx="33">
                  <c:v>817.25631446288025</c:v>
                </c:pt>
                <c:pt idx="34">
                  <c:v>797.71290197565395</c:v>
                </c:pt>
                <c:pt idx="35">
                  <c:v>778.05174916201213</c:v>
                </c:pt>
                <c:pt idx="36">
                  <c:v>758.3997381797526</c:v>
                </c:pt>
                <c:pt idx="37">
                  <c:v>738.69529987391434</c:v>
                </c:pt>
                <c:pt idx="38">
                  <c:v>718.80011407006532</c:v>
                </c:pt>
                <c:pt idx="39">
                  <c:v>698.79185041776509</c:v>
                </c:pt>
                <c:pt idx="40">
                  <c:v>678.82003224144864</c:v>
                </c:pt>
                <c:pt idx="41">
                  <c:v>659.03956928952539</c:v>
                </c:pt>
                <c:pt idx="42">
                  <c:v>639.57849625353992</c:v>
                </c:pt>
                <c:pt idx="43">
                  <c:v>620.45481770299375</c:v>
                </c:pt>
                <c:pt idx="44">
                  <c:v>601.66233328545059</c:v>
                </c:pt>
                <c:pt idx="45">
                  <c:v>583.19925045051787</c:v>
                </c:pt>
                <c:pt idx="46">
                  <c:v>565.07339925922861</c:v>
                </c:pt>
                <c:pt idx="47">
                  <c:v>547.31265593133867</c:v>
                </c:pt>
                <c:pt idx="48">
                  <c:v>529.99596664796991</c:v>
                </c:pt>
                <c:pt idx="49">
                  <c:v>513.18786240006739</c:v>
                </c:pt>
                <c:pt idx="50">
                  <c:v>496.86811381904408</c:v>
                </c:pt>
                <c:pt idx="51">
                  <c:v>480.99391864187783</c:v>
                </c:pt>
                <c:pt idx="52">
                  <c:v>465.53973728281562</c:v>
                </c:pt>
                <c:pt idx="53">
                  <c:v>450.48744319478283</c:v>
                </c:pt>
                <c:pt idx="54">
                  <c:v>435.76921703055268</c:v>
                </c:pt>
                <c:pt idx="55">
                  <c:v>421.33992903726175</c:v>
                </c:pt>
                <c:pt idx="56">
                  <c:v>407.17595683965192</c:v>
                </c:pt>
                <c:pt idx="57">
                  <c:v>393.26620616402943</c:v>
                </c:pt>
                <c:pt idx="58">
                  <c:v>379.60724750248482</c:v>
                </c:pt>
                <c:pt idx="59">
                  <c:v>366.19979807554046</c:v>
                </c:pt>
                <c:pt idx="60">
                  <c:v>353.04659596872807</c:v>
                </c:pt>
                <c:pt idx="61">
                  <c:v>340.15221975115128</c:v>
                </c:pt>
                <c:pt idx="62">
                  <c:v>327.52303667229717</c:v>
                </c:pt>
                <c:pt idx="63">
                  <c:v>315.17333894029434</c:v>
                </c:pt>
                <c:pt idx="64">
                  <c:v>303.28891621840012</c:v>
                </c:pt>
                <c:pt idx="65">
                  <c:v>291.82357002896606</c:v>
                </c:pt>
                <c:pt idx="66">
                  <c:v>280.75187396838737</c:v>
                </c:pt>
                <c:pt idx="67">
                  <c:v>270.07205859771057</c:v>
                </c:pt>
                <c:pt idx="68">
                  <c:v>259.80818395588722</c:v>
                </c:pt>
                <c:pt idx="69">
                  <c:v>249.97861379479582</c:v>
                </c:pt>
                <c:pt idx="70">
                  <c:v>240.58930518641137</c:v>
                </c:pt>
                <c:pt idx="71">
                  <c:v>232.27247631837963</c:v>
                </c:pt>
                <c:pt idx="72">
                  <c:v>224.80722686517402</c:v>
                </c:pt>
                <c:pt idx="73">
                  <c:v>218.00046335271327</c:v>
                </c:pt>
                <c:pt idx="74">
                  <c:v>211.74739770250744</c:v>
                </c:pt>
                <c:pt idx="75">
                  <c:v>205.98898279498098</c:v>
                </c:pt>
                <c:pt idx="76">
                  <c:v>200.69039088851423</c:v>
                </c:pt>
                <c:pt idx="77">
                  <c:v>195.82257913635112</c:v>
                </c:pt>
                <c:pt idx="78">
                  <c:v>191.35324913766817</c:v>
                </c:pt>
                <c:pt idx="79">
                  <c:v>187.23400675834273</c:v>
                </c:pt>
                <c:pt idx="80">
                  <c:v>183.41614469568594</c:v>
                </c:pt>
                <c:pt idx="81">
                  <c:v>179.85111366401543</c:v>
                </c:pt>
                <c:pt idx="82">
                  <c:v>176.4964577065839</c:v>
                </c:pt>
                <c:pt idx="83">
                  <c:v>173.18562888837187</c:v>
                </c:pt>
                <c:pt idx="84">
                  <c:v>169.7997917412431</c:v>
                </c:pt>
                <c:pt idx="85">
                  <c:v>166.2761418313894</c:v>
                </c:pt>
                <c:pt idx="86">
                  <c:v>162.57948949126876</c:v>
                </c:pt>
                <c:pt idx="87">
                  <c:v>158.74023052831762</c:v>
                </c:pt>
                <c:pt idx="88">
                  <c:v>154.78277744015213</c:v>
                </c:pt>
                <c:pt idx="89">
                  <c:v>150.72075966437114</c:v>
                </c:pt>
                <c:pt idx="90">
                  <c:v>146.56166901675169</c:v>
                </c:pt>
                <c:pt idx="91">
                  <c:v>142.31300130949239</c:v>
                </c:pt>
                <c:pt idx="92">
                  <c:v>138.06829791341443</c:v>
                </c:pt>
                <c:pt idx="93">
                  <c:v>133.89507531910203</c:v>
                </c:pt>
                <c:pt idx="94">
                  <c:v>129.83145349408733</c:v>
                </c:pt>
                <c:pt idx="95">
                  <c:v>125.89689390052808</c:v>
                </c:pt>
                <c:pt idx="96">
                  <c:v>122.09933312403155</c:v>
                </c:pt>
                <c:pt idx="97">
                  <c:v>118.43929914027103</c:v>
                </c:pt>
                <c:pt idx="98">
                  <c:v>114.91401047346881</c:v>
                </c:pt>
                <c:pt idx="99">
                  <c:v>111.52403952769237</c:v>
                </c:pt>
                <c:pt idx="100">
                  <c:v>108.27734827657696</c:v>
                </c:pt>
                <c:pt idx="101">
                  <c:v>105.17553286097245</c:v>
                </c:pt>
                <c:pt idx="102">
                  <c:v>102.21505951925064</c:v>
                </c:pt>
                <c:pt idx="103">
                  <c:v>99.389812466863077</c:v>
                </c:pt>
                <c:pt idx="104">
                  <c:v>96.692725172499195</c:v>
                </c:pt>
                <c:pt idx="105">
                  <c:v>94.1168624234269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D60-4826-BB40-44692634279D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rgbClr val="305983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E$2:$E$107</c:f>
              <c:numCache>
                <c:formatCode>General</c:formatCode>
                <c:ptCount val="106"/>
                <c:pt idx="10">
                  <c:v>939.68990866873355</c:v>
                </c:pt>
                <c:pt idx="11">
                  <c:v>974.94485143883503</c:v>
                </c:pt>
                <c:pt idx="12">
                  <c:v>1008.4265021398169</c:v>
                </c:pt>
                <c:pt idx="13">
                  <c:v>1046.0243337516877</c:v>
                </c:pt>
                <c:pt idx="14">
                  <c:v>1085.3970949968643</c:v>
                </c:pt>
                <c:pt idx="15">
                  <c:v>1120.3086281062861</c:v>
                </c:pt>
                <c:pt idx="16">
                  <c:v>1151.584427099704</c:v>
                </c:pt>
                <c:pt idx="17">
                  <c:v>1180.4843014507205</c:v>
                </c:pt>
                <c:pt idx="18">
                  <c:v>1205.9110242171155</c:v>
                </c:pt>
                <c:pt idx="19">
                  <c:v>1228.0291395494714</c:v>
                </c:pt>
                <c:pt idx="20">
                  <c:v>1248.7191552721779</c:v>
                </c:pt>
                <c:pt idx="21">
                  <c:v>1268.34058953356</c:v>
                </c:pt>
                <c:pt idx="22">
                  <c:v>1286.160306172329</c:v>
                </c:pt>
                <c:pt idx="23">
                  <c:v>1302.4438664700137</c:v>
                </c:pt>
                <c:pt idx="24">
                  <c:v>1317.4138237172883</c:v>
                </c:pt>
                <c:pt idx="25">
                  <c:v>1330.8865350055421</c:v>
                </c:pt>
                <c:pt idx="26">
                  <c:v>1343.0830706931738</c:v>
                </c:pt>
                <c:pt idx="27">
                  <c:v>1354.4745268098195</c:v>
                </c:pt>
                <c:pt idx="28">
                  <c:v>1364.8754723661114</c:v>
                </c:pt>
                <c:pt idx="29">
                  <c:v>1374.1835404631274</c:v>
                </c:pt>
                <c:pt idx="30">
                  <c:v>1382.6944819826604</c:v>
                </c:pt>
                <c:pt idx="31">
                  <c:v>1390.4954056042188</c:v>
                </c:pt>
                <c:pt idx="32">
                  <c:v>1397.4135756127071</c:v>
                </c:pt>
                <c:pt idx="33">
                  <c:v>1403.4525853436789</c:v>
                </c:pt>
                <c:pt idx="34">
                  <c:v>1408.7351219802513</c:v>
                </c:pt>
                <c:pt idx="35">
                  <c:v>1413.3154685879126</c:v>
                </c:pt>
                <c:pt idx="36">
                  <c:v>1417.2936102258827</c:v>
                </c:pt>
                <c:pt idx="37">
                  <c:v>1420.6530972111505</c:v>
                </c:pt>
                <c:pt idx="38">
                  <c:v>1423.2538459758653</c:v>
                </c:pt>
                <c:pt idx="39">
                  <c:v>1425.1654933874088</c:v>
                </c:pt>
                <c:pt idx="40">
                  <c:v>1426.481266060262</c:v>
                </c:pt>
                <c:pt idx="41">
                  <c:v>1427.1770800999948</c:v>
                </c:pt>
                <c:pt idx="42">
                  <c:v>1427.2660220357066</c:v>
                </c:pt>
                <c:pt idx="43">
                  <c:v>1426.7606784056406</c:v>
                </c:pt>
                <c:pt idx="44">
                  <c:v>1425.6720860480564</c:v>
                </c:pt>
                <c:pt idx="45">
                  <c:v>1424.0105010053958</c:v>
                </c:pt>
                <c:pt idx="46">
                  <c:v>1421.7857939553796</c:v>
                </c:pt>
                <c:pt idx="47">
                  <c:v>1419.0076702750521</c:v>
                </c:pt>
                <c:pt idx="48">
                  <c:v>1415.6858058998478</c:v>
                </c:pt>
                <c:pt idx="49">
                  <c:v>1411.8299404516292</c:v>
                </c:pt>
                <c:pt idx="50">
                  <c:v>1407.449946343113</c:v>
                </c:pt>
                <c:pt idx="51">
                  <c:v>1402.5558823085739</c:v>
                </c:pt>
                <c:pt idx="52">
                  <c:v>1397.1580353064928</c:v>
                </c:pt>
                <c:pt idx="53">
                  <c:v>1391.2669528147962</c:v>
                </c:pt>
                <c:pt idx="54">
                  <c:v>1384.8934667489084</c:v>
                </c:pt>
                <c:pt idx="55">
                  <c:v>1378.0487099190359</c:v>
                </c:pt>
                <c:pt idx="56">
                  <c:v>1370.7441258124891</c:v>
                </c:pt>
                <c:pt idx="57">
                  <c:v>1362.9914724264527</c:v>
                </c:pt>
                <c:pt idx="58">
                  <c:v>1354.8028208309261</c:v>
                </c:pt>
                <c:pt idx="59">
                  <c:v>1346.1905490985082</c:v>
                </c:pt>
                <c:pt idx="60">
                  <c:v>1337.1673321950657</c:v>
                </c:pt>
                <c:pt idx="61">
                  <c:v>1327.7461283779412</c:v>
                </c:pt>
                <c:pt idx="62">
                  <c:v>1317.9401626036561</c:v>
                </c:pt>
                <c:pt idx="63">
                  <c:v>1307.7629074034921</c:v>
                </c:pt>
                <c:pt idx="64">
                  <c:v>1297.228061643109</c:v>
                </c:pt>
                <c:pt idx="65">
                  <c:v>1286.34952754603</c:v>
                </c:pt>
                <c:pt idx="66">
                  <c:v>1275.1413863228227</c:v>
                </c:pt>
                <c:pt idx="67">
                  <c:v>1263.6178727188089</c:v>
                </c:pt>
                <c:pt idx="68">
                  <c:v>1251.7933487624105</c:v>
                </c:pt>
                <c:pt idx="69">
                  <c:v>1239.6822769695136</c:v>
                </c:pt>
                <c:pt idx="70">
                  <c:v>1227.2991932362202</c:v>
                </c:pt>
                <c:pt idx="71">
                  <c:v>1214.658679629676</c:v>
                </c:pt>
                <c:pt idx="72">
                  <c:v>1201.7753372660372</c:v>
                </c:pt>
                <c:pt idx="73">
                  <c:v>1188.6637594462663</c:v>
                </c:pt>
                <c:pt idx="74">
                  <c:v>1175.3385052036028</c:v>
                </c:pt>
                <c:pt idx="75">
                  <c:v>1161.8140733992623</c:v>
                </c:pt>
                <c:pt idx="76">
                  <c:v>1148.1048774885712</c:v>
                </c:pt>
                <c:pt idx="77">
                  <c:v>1134.2252210658917</c:v>
                </c:pt>
                <c:pt idx="78">
                  <c:v>1120.1892742824275</c:v>
                </c:pt>
                <c:pt idx="79">
                  <c:v>1106.0110512197134</c:v>
                </c:pt>
                <c:pt idx="80">
                  <c:v>1091.7043882883736</c:v>
                </c:pt>
                <c:pt idx="81">
                  <c:v>1077.282923712628</c:v>
                </c:pt>
                <c:pt idx="82">
                  <c:v>1062.7600781483634</c:v>
                </c:pt>
                <c:pt idx="83">
                  <c:v>1048.1490364747588</c:v>
                </c:pt>
                <c:pt idx="84">
                  <c:v>1033.4627307888586</c:v>
                </c:pt>
                <c:pt idx="85">
                  <c:v>1018.7138246245158</c:v>
                </c:pt>
                <c:pt idx="86">
                  <c:v>1003.9146984092658</c:v>
                </c:pt>
                <c:pt idx="87">
                  <c:v>989.07743616454536</c:v>
                </c:pt>
                <c:pt idx="88">
                  <c:v>974.21381344806287</c:v>
                </c:pt>
                <c:pt idx="89">
                  <c:v>959.33528653107351</c:v>
                </c:pt>
                <c:pt idx="90">
                  <c:v>944.45298279676354</c:v>
                </c:pt>
                <c:pt idx="91">
                  <c:v>929.57769234111765</c:v>
                </c:pt>
                <c:pt idx="92">
                  <c:v>914.7198607523751</c:v>
                </c:pt>
                <c:pt idx="93">
                  <c:v>899.88958304119296</c:v>
                </c:pt>
                <c:pt idx="94">
                  <c:v>885.09659868950257</c:v>
                </c:pt>
                <c:pt idx="95">
                  <c:v>870.3502877826395</c:v>
                </c:pt>
                <c:pt idx="96">
                  <c:v>855.65966818627203</c:v>
                </c:pt>
                <c:pt idx="97">
                  <c:v>841.03339372758637</c:v>
                </c:pt>
                <c:pt idx="98">
                  <c:v>826.47975333695649</c:v>
                </c:pt>
                <c:pt idx="99">
                  <c:v>812.00667110606446</c:v>
                </c:pt>
                <c:pt idx="100">
                  <c:v>797.62170721552684</c:v>
                </c:pt>
                <c:pt idx="101">
                  <c:v>783.33205968534457</c:v>
                </c:pt>
                <c:pt idx="102">
                  <c:v>769.14456689960207</c:v>
                </c:pt>
                <c:pt idx="103">
                  <c:v>755.06571085783071</c:v>
                </c:pt>
                <c:pt idx="104">
                  <c:v>741.10162110353122</c:v>
                </c:pt>
                <c:pt idx="105">
                  <c:v>727.258079282531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D60-4826-BB40-44692634279D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939.68990866873355</c:v>
                </c:pt>
                <c:pt idx="11">
                  <c:v>974.94485143883503</c:v>
                </c:pt>
                <c:pt idx="12">
                  <c:v>1004.2910924640455</c:v>
                </c:pt>
                <c:pt idx="13">
                  <c:v>1034.6599045577896</c:v>
                </c:pt>
                <c:pt idx="14">
                  <c:v>1064.6510091166128</c:v>
                </c:pt>
                <c:pt idx="15">
                  <c:v>1088.4430152635177</c:v>
                </c:pt>
                <c:pt idx="16">
                  <c:v>1107.0225666343176</c:v>
                </c:pt>
                <c:pt idx="17">
                  <c:v>1121.6862178713054</c:v>
                </c:pt>
                <c:pt idx="18">
                  <c:v>1131.3569439937419</c:v>
                </c:pt>
                <c:pt idx="19">
                  <c:v>1136.25746795538</c:v>
                </c:pt>
                <c:pt idx="20">
                  <c:v>1138.43396380372</c:v>
                </c:pt>
                <c:pt idx="21">
                  <c:v>1138.4324741638702</c:v>
                </c:pt>
                <c:pt idx="22">
                  <c:v>1135.725348398395</c:v>
                </c:pt>
                <c:pt idx="23">
                  <c:v>1130.7752992526948</c:v>
                </c:pt>
                <c:pt idx="24">
                  <c:v>1123.9901338405325</c:v>
                </c:pt>
                <c:pt idx="25">
                  <c:v>1115.335941099198</c:v>
                </c:pt>
                <c:pt idx="26">
                  <c:v>1105.1641549790947</c:v>
                </c:pt>
                <c:pt idx="27">
                  <c:v>1094.0612799294468</c:v>
                </c:pt>
                <c:pt idx="28">
                  <c:v>1081.9455917359737</c:v>
                </c:pt>
                <c:pt idx="29">
                  <c:v>1068.807309041993</c:v>
                </c:pt>
                <c:pt idx="30">
                  <c:v>1055.0241557096015</c:v>
                </c:pt>
                <c:pt idx="31">
                  <c:v>1040.7550864105142</c:v>
                </c:pt>
                <c:pt idx="32">
                  <c:v>1025.8891083156777</c:v>
                </c:pt>
                <c:pt idx="33">
                  <c:v>1010.4870239173761</c:v>
                </c:pt>
                <c:pt idx="34">
                  <c:v>994.72321121889399</c:v>
                </c:pt>
                <c:pt idx="35">
                  <c:v>978.69698404413066</c:v>
                </c:pt>
                <c:pt idx="36">
                  <c:v>962.54717531692586</c:v>
                </c:pt>
                <c:pt idx="37">
                  <c:v>946.29235946733388</c:v>
                </c:pt>
                <c:pt idx="38">
                  <c:v>929.82535322969488</c:v>
                </c:pt>
                <c:pt idx="39">
                  <c:v>913.24308283273422</c:v>
                </c:pt>
                <c:pt idx="40">
                  <c:v>896.66251538325741</c:v>
                </c:pt>
                <c:pt idx="41">
                  <c:v>880.08043509261915</c:v>
                </c:pt>
                <c:pt idx="42">
                  <c:v>863.52737050990982</c:v>
                </c:pt>
                <c:pt idx="43">
                  <c:v>847.03251603296667</c:v>
                </c:pt>
                <c:pt idx="44">
                  <c:v>830.62018137803534</c:v>
                </c:pt>
                <c:pt idx="45">
                  <c:v>814.31117072822235</c:v>
                </c:pt>
                <c:pt idx="46">
                  <c:v>798.12355009600287</c:v>
                </c:pt>
                <c:pt idx="47">
                  <c:v>782.07311385739013</c:v>
                </c:pt>
                <c:pt idx="48">
                  <c:v>766.1737004002498</c:v>
                </c:pt>
                <c:pt idx="49">
                  <c:v>750.43742859226768</c:v>
                </c:pt>
                <c:pt idx="50">
                  <c:v>734.87488919234602</c:v>
                </c:pt>
                <c:pt idx="51">
                  <c:v>719.4953075258527</c:v>
                </c:pt>
                <c:pt idx="52">
                  <c:v>704.30668544929358</c:v>
                </c:pt>
                <c:pt idx="53">
                  <c:v>689.31592683456256</c:v>
                </c:pt>
                <c:pt idx="54">
                  <c:v>674.52894909714814</c:v>
                </c:pt>
                <c:pt idx="55">
                  <c:v>659.95078252410167</c:v>
                </c:pt>
                <c:pt idx="56">
                  <c:v>645.58565879779053</c:v>
                </c:pt>
                <c:pt idx="57">
                  <c:v>631.43708992260508</c:v>
                </c:pt>
                <c:pt idx="58">
                  <c:v>617.50793863032595</c:v>
                </c:pt>
                <c:pt idx="59">
                  <c:v>603.80048123886809</c:v>
                </c:pt>
                <c:pt idx="60">
                  <c:v>590.31646384013584</c:v>
                </c:pt>
                <c:pt idx="61">
                  <c:v>577.05715260203579</c:v>
                </c:pt>
                <c:pt idx="62">
                  <c:v>564.02337888264447</c:v>
                </c:pt>
                <c:pt idx="63">
                  <c:v>551.21557977280463</c:v>
                </c:pt>
                <c:pt idx="64">
                  <c:v>538.63383460993646</c:v>
                </c:pt>
                <c:pt idx="65">
                  <c:v>526.27789793809643</c:v>
                </c:pt>
                <c:pt idx="66">
                  <c:v>514.14722932939185</c:v>
                </c:pt>
                <c:pt idx="67">
                  <c:v>502.24102042918094</c:v>
                </c:pt>
                <c:pt idx="68">
                  <c:v>490.55821954092244</c:v>
                </c:pt>
                <c:pt idx="69">
                  <c:v>479.09755402573501</c:v>
                </c:pt>
                <c:pt idx="70">
                  <c:v>467.8575507561327</c:v>
                </c:pt>
                <c:pt idx="71">
                  <c:v>456.83655483319308</c:v>
                </c:pt>
                <c:pt idx="72">
                  <c:v>446.03274674975546</c:v>
                </c:pt>
                <c:pt idx="73">
                  <c:v>435.44415815870161</c:v>
                </c:pt>
                <c:pt idx="74">
                  <c:v>425.06868638601736</c:v>
                </c:pt>
                <c:pt idx="75">
                  <c:v>414.90410781075479</c:v>
                </c:pt>
                <c:pt idx="76">
                  <c:v>404.94809021975379</c:v>
                </c:pt>
                <c:pt idx="77">
                  <c:v>395.19820423098281</c:v>
                </c:pt>
                <c:pt idx="78">
                  <c:v>385.65193386908504</c:v>
                </c:pt>
                <c:pt idx="79">
                  <c:v>376.30668636763585</c:v>
                </c:pt>
                <c:pt idx="80">
                  <c:v>367.15980126202339</c:v>
                </c:pt>
                <c:pt idx="81">
                  <c:v>358.20855883232434</c:v>
                </c:pt>
                <c:pt idx="82">
                  <c:v>349.45018794763018</c:v>
                </c:pt>
                <c:pt idx="83">
                  <c:v>340.88187335742987</c:v>
                </c:pt>
                <c:pt idx="84">
                  <c:v>332.50076247288962</c:v>
                </c:pt>
                <c:pt idx="85">
                  <c:v>324.30397167440969</c:v>
                </c:pt>
                <c:pt idx="86">
                  <c:v>316.28859217913123</c:v>
                </c:pt>
                <c:pt idx="87">
                  <c:v>308.45169550017454</c:v>
                </c:pt>
                <c:pt idx="88">
                  <c:v>300.79033852333669</c:v>
                </c:pt>
                <c:pt idx="89">
                  <c:v>293.30156822878052</c:v>
                </c:pt>
                <c:pt idx="90">
                  <c:v>285.98242607872817</c:v>
                </c:pt>
                <c:pt idx="91">
                  <c:v>278.82995209406363</c:v>
                </c:pt>
                <c:pt idx="92">
                  <c:v>271.84118863809272</c:v>
                </c:pt>
                <c:pt idx="93">
                  <c:v>265.01318392631947</c:v>
                </c:pt>
                <c:pt idx="94">
                  <c:v>258.34299527821713</c:v>
                </c:pt>
                <c:pt idx="95">
                  <c:v>251.82769212688436</c:v>
                </c:pt>
                <c:pt idx="96">
                  <c:v>245.46435880078934</c:v>
                </c:pt>
                <c:pt idx="97">
                  <c:v>239.25009709098958</c:v>
                </c:pt>
                <c:pt idx="98">
                  <c:v>233.18202861610916</c:v>
                </c:pt>
                <c:pt idx="99">
                  <c:v>227.25729699744261</c:v>
                </c:pt>
                <c:pt idx="100">
                  <c:v>221.4730698542844</c:v>
                </c:pt>
                <c:pt idx="101">
                  <c:v>215.8265406305436</c:v>
                </c:pt>
                <c:pt idx="102">
                  <c:v>210.31493026213138</c:v>
                </c:pt>
                <c:pt idx="103">
                  <c:v>204.9354886940273</c:v>
                </c:pt>
                <c:pt idx="104">
                  <c:v>199.68549625607557</c:v>
                </c:pt>
                <c:pt idx="105">
                  <c:v>194.562264905602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% pozitivních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03</c:f>
              <c:numCache>
                <c:formatCode>m/d/yyyy</c:formatCode>
                <c:ptCount val="50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</c:numCache>
            </c:numRef>
          </c:cat>
          <c:val>
            <c:numRef>
              <c:f>Sheet1!$B$2:$B$503</c:f>
              <c:numCache>
                <c:formatCode>General</c:formatCode>
                <c:ptCount val="502"/>
                <c:pt idx="0">
                  <c:v>4.259476357952325E-2</c:v>
                </c:pt>
                <c:pt idx="1">
                  <c:v>7.4275362318840576E-2</c:v>
                </c:pt>
                <c:pt idx="2">
                  <c:v>7.2694502853709819E-2</c:v>
                </c:pt>
                <c:pt idx="3">
                  <c:v>8.7135506003430535E-2</c:v>
                </c:pt>
                <c:pt idx="4">
                  <c:v>7.1942446043165464E-2</c:v>
                </c:pt>
                <c:pt idx="5">
                  <c:v>0.11911111111111111</c:v>
                </c:pt>
                <c:pt idx="6">
                  <c:v>5.9675296182536197E-2</c:v>
                </c:pt>
                <c:pt idx="7">
                  <c:v>8.9437819420783646E-2</c:v>
                </c:pt>
                <c:pt idx="8">
                  <c:v>8.9993130295397294E-2</c:v>
                </c:pt>
                <c:pt idx="9">
                  <c:v>0.10700236034618411</c:v>
                </c:pt>
                <c:pt idx="10">
                  <c:v>8.0320677658448039E-2</c:v>
                </c:pt>
                <c:pt idx="11">
                  <c:v>0.15021867275147366</c:v>
                </c:pt>
                <c:pt idx="12">
                  <c:v>0.1527363184079602</c:v>
                </c:pt>
                <c:pt idx="13">
                  <c:v>6.9351230425055935E-2</c:v>
                </c:pt>
                <c:pt idx="14">
                  <c:v>8.4968329986096089E-2</c:v>
                </c:pt>
                <c:pt idx="15">
                  <c:v>0.12220726783310902</c:v>
                </c:pt>
                <c:pt idx="16">
                  <c:v>0.1789815566639601</c:v>
                </c:pt>
                <c:pt idx="17">
                  <c:v>0.13940199335548173</c:v>
                </c:pt>
                <c:pt idx="18">
                  <c:v>0.14387271496276235</c:v>
                </c:pt>
                <c:pt idx="19">
                  <c:v>0.11019929660023446</c:v>
                </c:pt>
                <c:pt idx="20">
                  <c:v>9.1846298031865045E-2</c:v>
                </c:pt>
                <c:pt idx="21">
                  <c:v>0.13539420081476156</c:v>
                </c:pt>
                <c:pt idx="22">
                  <c:v>0.13467145099798161</c:v>
                </c:pt>
                <c:pt idx="23">
                  <c:v>0.15190684755902148</c:v>
                </c:pt>
                <c:pt idx="24">
                  <c:v>0.16906286074089621</c:v>
                </c:pt>
                <c:pt idx="25">
                  <c:v>0.15887290167865709</c:v>
                </c:pt>
                <c:pt idx="26">
                  <c:v>0.1502903600464576</c:v>
                </c:pt>
                <c:pt idx="27">
                  <c:v>0.14107332624867164</c:v>
                </c:pt>
                <c:pt idx="28">
                  <c:v>0.14444444444444443</c:v>
                </c:pt>
                <c:pt idx="29">
                  <c:v>0.17619701934256421</c:v>
                </c:pt>
                <c:pt idx="30">
                  <c:v>0.20561383061383062</c:v>
                </c:pt>
                <c:pt idx="31">
                  <c:v>0.21008563273073264</c:v>
                </c:pt>
                <c:pt idx="32">
                  <c:v>0.21961170512099043</c:v>
                </c:pt>
                <c:pt idx="33">
                  <c:v>0.25975414216996257</c:v>
                </c:pt>
                <c:pt idx="34">
                  <c:v>0.24010876954452753</c:v>
                </c:pt>
                <c:pt idx="35">
                  <c:v>0.24026330224904005</c:v>
                </c:pt>
                <c:pt idx="36">
                  <c:v>0.27433327671139801</c:v>
                </c:pt>
                <c:pt idx="37">
                  <c:v>0.28342555124287722</c:v>
                </c:pt>
                <c:pt idx="38">
                  <c:v>0.3941380072170263</c:v>
                </c:pt>
                <c:pt idx="39">
                  <c:v>0.3256791720569211</c:v>
                </c:pt>
                <c:pt idx="40">
                  <c:v>0.33895478131949591</c:v>
                </c:pt>
                <c:pt idx="41">
                  <c:v>0.25638335082196573</c:v>
                </c:pt>
                <c:pt idx="42">
                  <c:v>0.32485839340885686</c:v>
                </c:pt>
                <c:pt idx="43">
                  <c:v>0.34648977335544501</c:v>
                </c:pt>
                <c:pt idx="44">
                  <c:v>0.35032605613836121</c:v>
                </c:pt>
                <c:pt idx="45">
                  <c:v>0.35489760671107823</c:v>
                </c:pt>
                <c:pt idx="46">
                  <c:v>0.36377052204390337</c:v>
                </c:pt>
                <c:pt idx="47">
                  <c:v>0.36930347698886012</c:v>
                </c:pt>
                <c:pt idx="48">
                  <c:v>0.34713788633417481</c:v>
                </c:pt>
                <c:pt idx="49">
                  <c:v>0.36280708092485547</c:v>
                </c:pt>
                <c:pt idx="50">
                  <c:v>0.40505233660265394</c:v>
                </c:pt>
                <c:pt idx="51">
                  <c:v>0.38715788625095732</c:v>
                </c:pt>
                <c:pt idx="52">
                  <c:v>0.40323547034152185</c:v>
                </c:pt>
                <c:pt idx="53">
                  <c:v>0.38381543301581755</c:v>
                </c:pt>
                <c:pt idx="54">
                  <c:v>0.41160197112475144</c:v>
                </c:pt>
                <c:pt idx="55">
                  <c:v>0.36164116979296179</c:v>
                </c:pt>
                <c:pt idx="56">
                  <c:v>0.38086590149644051</c:v>
                </c:pt>
                <c:pt idx="57">
                  <c:v>0.39369381338293258</c:v>
                </c:pt>
                <c:pt idx="58">
                  <c:v>0.37274445781062038</c:v>
                </c:pt>
                <c:pt idx="59">
                  <c:v>0.34415994648630571</c:v>
                </c:pt>
                <c:pt idx="60">
                  <c:v>0.38075537817580063</c:v>
                </c:pt>
                <c:pt idx="61">
                  <c:v>0.38577939835916136</c:v>
                </c:pt>
                <c:pt idx="62">
                  <c:v>0.37305669199298658</c:v>
                </c:pt>
                <c:pt idx="63">
                  <c:v>0.34550481844427278</c:v>
                </c:pt>
                <c:pt idx="64">
                  <c:v>0.41391106043329534</c:v>
                </c:pt>
                <c:pt idx="65">
                  <c:v>0.38130386375819553</c:v>
                </c:pt>
                <c:pt idx="66">
                  <c:v>0.34461649261793303</c:v>
                </c:pt>
                <c:pt idx="67">
                  <c:v>0.35772641575308989</c:v>
                </c:pt>
                <c:pt idx="68">
                  <c:v>0.32489699823425544</c:v>
                </c:pt>
                <c:pt idx="69">
                  <c:v>0.25708859042192378</c:v>
                </c:pt>
                <c:pt idx="70">
                  <c:v>0.30541047614218347</c:v>
                </c:pt>
                <c:pt idx="71">
                  <c:v>0.33231672879249974</c:v>
                </c:pt>
                <c:pt idx="72">
                  <c:v>0.32510940572080926</c:v>
                </c:pt>
                <c:pt idx="73">
                  <c:v>0.2891618318726083</c:v>
                </c:pt>
                <c:pt idx="74">
                  <c:v>0.32617046818727491</c:v>
                </c:pt>
                <c:pt idx="75">
                  <c:v>0.2836804640126549</c:v>
                </c:pt>
                <c:pt idx="76">
                  <c:v>0.26180673286510053</c:v>
                </c:pt>
                <c:pt idx="77">
                  <c:v>0.30964467005076141</c:v>
                </c:pt>
                <c:pt idx="78">
                  <c:v>0.2775714516389472</c:v>
                </c:pt>
                <c:pt idx="79">
                  <c:v>0.30592415343339857</c:v>
                </c:pt>
                <c:pt idx="80">
                  <c:v>0.27518353137061985</c:v>
                </c:pt>
                <c:pt idx="81">
                  <c:v>0.28083952027412906</c:v>
                </c:pt>
                <c:pt idx="82">
                  <c:v>0.26989365603226989</c:v>
                </c:pt>
                <c:pt idx="83">
                  <c:v>0.23725647184414198</c:v>
                </c:pt>
                <c:pt idx="84">
                  <c:v>0.29963642111919064</c:v>
                </c:pt>
                <c:pt idx="85">
                  <c:v>0.27474231505974644</c:v>
                </c:pt>
                <c:pt idx="86">
                  <c:v>0.26714024324615221</c:v>
                </c:pt>
                <c:pt idx="87">
                  <c:v>0.25155904244618787</c:v>
                </c:pt>
                <c:pt idx="88">
                  <c:v>0.26961157654226964</c:v>
                </c:pt>
                <c:pt idx="89">
                  <c:v>0.21665947345705655</c:v>
                </c:pt>
                <c:pt idx="90">
                  <c:v>0.212998361551065</c:v>
                </c:pt>
                <c:pt idx="91">
                  <c:v>0.29296535752195313</c:v>
                </c:pt>
                <c:pt idx="92">
                  <c:v>0.25392376681614348</c:v>
                </c:pt>
                <c:pt idx="93">
                  <c:v>0.28228820598006643</c:v>
                </c:pt>
                <c:pt idx="94">
                  <c:v>0.27318483615335187</c:v>
                </c:pt>
                <c:pt idx="95">
                  <c:v>0.31324418391646824</c:v>
                </c:pt>
                <c:pt idx="96">
                  <c:v>0.20539104024297647</c:v>
                </c:pt>
                <c:pt idx="97">
                  <c:v>0.22702135774218155</c:v>
                </c:pt>
                <c:pt idx="98">
                  <c:v>0.28950413223140498</c:v>
                </c:pt>
                <c:pt idx="99">
                  <c:v>0.3196313514395237</c:v>
                </c:pt>
                <c:pt idx="100">
                  <c:v>0.28611536498213375</c:v>
                </c:pt>
                <c:pt idx="101">
                  <c:v>0.27248229134585772</c:v>
                </c:pt>
                <c:pt idx="102">
                  <c:v>0.30901287553648071</c:v>
                </c:pt>
                <c:pt idx="103">
                  <c:v>0.30726092089728452</c:v>
                </c:pt>
                <c:pt idx="104">
                  <c:v>0.25067221788533262</c:v>
                </c:pt>
                <c:pt idx="105">
                  <c:v>0.31531592938450004</c:v>
                </c:pt>
                <c:pt idx="106">
                  <c:v>0.32577794852093739</c:v>
                </c:pt>
                <c:pt idx="107">
                  <c:v>0.30867765880575443</c:v>
                </c:pt>
                <c:pt idx="108">
                  <c:v>0.33380173735309149</c:v>
                </c:pt>
                <c:pt idx="109">
                  <c:v>0.30945860543501158</c:v>
                </c:pt>
                <c:pt idx="110">
                  <c:v>0.40342465753424656</c:v>
                </c:pt>
                <c:pt idx="111">
                  <c:v>0.30589423562513529</c:v>
                </c:pt>
                <c:pt idx="112">
                  <c:v>0.35284580118528458</c:v>
                </c:pt>
                <c:pt idx="113">
                  <c:v>0.4136532104577782</c:v>
                </c:pt>
                <c:pt idx="114">
                  <c:v>0.44892634958860123</c:v>
                </c:pt>
                <c:pt idx="115">
                  <c:v>0.39188154199642583</c:v>
                </c:pt>
                <c:pt idx="116">
                  <c:v>0.42000990589400694</c:v>
                </c:pt>
                <c:pt idx="117">
                  <c:v>0.40407470288624786</c:v>
                </c:pt>
                <c:pt idx="118">
                  <c:v>0.45477745252570745</c:v>
                </c:pt>
                <c:pt idx="119">
                  <c:v>0.54337722695584822</c:v>
                </c:pt>
                <c:pt idx="120">
                  <c:v>0.53902869049527169</c:v>
                </c:pt>
                <c:pt idx="121">
                  <c:v>0.54523174511641315</c:v>
                </c:pt>
                <c:pt idx="122">
                  <c:v>0.52667040988208869</c:v>
                </c:pt>
                <c:pt idx="123">
                  <c:v>0.4708513017089922</c:v>
                </c:pt>
                <c:pt idx="124">
                  <c:v>0.50880253766851702</c:v>
                </c:pt>
                <c:pt idx="125">
                  <c:v>0.41069524718029293</c:v>
                </c:pt>
                <c:pt idx="126">
                  <c:v>0.45955898863789463</c:v>
                </c:pt>
                <c:pt idx="127">
                  <c:v>0.51531791907514446</c:v>
                </c:pt>
                <c:pt idx="128">
                  <c:v>0.4332927818329278</c:v>
                </c:pt>
                <c:pt idx="129">
                  <c:v>0.38545698508541054</c:v>
                </c:pt>
                <c:pt idx="130">
                  <c:v>0.48421166073930383</c:v>
                </c:pt>
                <c:pt idx="131">
                  <c:v>0.43409418054698745</c:v>
                </c:pt>
                <c:pt idx="132">
                  <c:v>0.31613065642897603</c:v>
                </c:pt>
                <c:pt idx="133">
                  <c:v>0.3374719167553506</c:v>
                </c:pt>
                <c:pt idx="134">
                  <c:v>0.3716433941997852</c:v>
                </c:pt>
                <c:pt idx="135">
                  <c:v>0.30672177507069825</c:v>
                </c:pt>
                <c:pt idx="136">
                  <c:v>0.33493355597300495</c:v>
                </c:pt>
                <c:pt idx="137">
                  <c:v>0.34314293998260365</c:v>
                </c:pt>
                <c:pt idx="138">
                  <c:v>0.34864300626304801</c:v>
                </c:pt>
                <c:pt idx="139">
                  <c:v>0.30187931171199744</c:v>
                </c:pt>
                <c:pt idx="140">
                  <c:v>0.35854462111445351</c:v>
                </c:pt>
                <c:pt idx="141">
                  <c:v>0.33576306299393849</c:v>
                </c:pt>
                <c:pt idx="142">
                  <c:v>0.35855438846359267</c:v>
                </c:pt>
                <c:pt idx="143">
                  <c:v>0.31074308128132488</c:v>
                </c:pt>
                <c:pt idx="144">
                  <c:v>0.34487463755756437</c:v>
                </c:pt>
                <c:pt idx="145">
                  <c:v>0.34136807817589576</c:v>
                </c:pt>
                <c:pt idx="146">
                  <c:v>0.28401683307203562</c:v>
                </c:pt>
                <c:pt idx="147">
                  <c:v>0.34314513183843398</c:v>
                </c:pt>
                <c:pt idx="148">
                  <c:v>0.32787362597364783</c:v>
                </c:pt>
                <c:pt idx="149">
                  <c:v>0.33436836084327504</c:v>
                </c:pt>
                <c:pt idx="150">
                  <c:v>0.29398385913426267</c:v>
                </c:pt>
                <c:pt idx="151">
                  <c:v>0.32504347826086954</c:v>
                </c:pt>
                <c:pt idx="152">
                  <c:v>0.39107703032415475</c:v>
                </c:pt>
                <c:pt idx="153">
                  <c:v>0.2948015279853845</c:v>
                </c:pt>
                <c:pt idx="154">
                  <c:v>0.34091072584706134</c:v>
                </c:pt>
                <c:pt idx="155">
                  <c:v>0.34809009390665818</c:v>
                </c:pt>
                <c:pt idx="156">
                  <c:v>0.32120144050264349</c:v>
                </c:pt>
                <c:pt idx="157">
                  <c:v>0.31149594694178334</c:v>
                </c:pt>
                <c:pt idx="158">
                  <c:v>0.35726351351351349</c:v>
                </c:pt>
                <c:pt idx="159">
                  <c:v>0.35840554592720969</c:v>
                </c:pt>
                <c:pt idx="160">
                  <c:v>0.33719974426888299</c:v>
                </c:pt>
                <c:pt idx="161">
                  <c:v>0.37503611672926901</c:v>
                </c:pt>
                <c:pt idx="162">
                  <c:v>0.3630252100840336</c:v>
                </c:pt>
                <c:pt idx="163">
                  <c:v>0.35181268882175226</c:v>
                </c:pt>
                <c:pt idx="164">
                  <c:v>0.3163983903420523</c:v>
                </c:pt>
                <c:pt idx="165">
                  <c:v>0.34215584799645127</c:v>
                </c:pt>
                <c:pt idx="166">
                  <c:v>0.37080934642736202</c:v>
                </c:pt>
                <c:pt idx="167">
                  <c:v>0.33069594703697724</c:v>
                </c:pt>
                <c:pt idx="168">
                  <c:v>0.41164148787609495</c:v>
                </c:pt>
                <c:pt idx="169">
                  <c:v>0.38277959756668228</c:v>
                </c:pt>
                <c:pt idx="170">
                  <c:v>0.37711944531988656</c:v>
                </c:pt>
                <c:pt idx="171">
                  <c:v>0.33419113346590246</c:v>
                </c:pt>
                <c:pt idx="172">
                  <c:v>0.40909711788007103</c:v>
                </c:pt>
                <c:pt idx="173">
                  <c:v>0.49045691150954307</c:v>
                </c:pt>
                <c:pt idx="174">
                  <c:v>0.36894243641231594</c:v>
                </c:pt>
                <c:pt idx="175">
                  <c:v>0.42768617307899559</c:v>
                </c:pt>
                <c:pt idx="176">
                  <c:v>0.40331813845012193</c:v>
                </c:pt>
                <c:pt idx="177">
                  <c:v>0.40189634737636032</c:v>
                </c:pt>
                <c:pt idx="178">
                  <c:v>0.36842373832729497</c:v>
                </c:pt>
                <c:pt idx="179">
                  <c:v>0.37511741989353931</c:v>
                </c:pt>
                <c:pt idx="180">
                  <c:v>0.41142857142857142</c:v>
                </c:pt>
                <c:pt idx="181">
                  <c:v>0.37527798369162341</c:v>
                </c:pt>
                <c:pt idx="182">
                  <c:v>0.41324721992910213</c:v>
                </c:pt>
                <c:pt idx="183">
                  <c:v>0.40241273100616015</c:v>
                </c:pt>
                <c:pt idx="184">
                  <c:v>0.40016699718192256</c:v>
                </c:pt>
                <c:pt idx="185">
                  <c:v>0.33057934004306244</c:v>
                </c:pt>
                <c:pt idx="186">
                  <c:v>0.46894586894586893</c:v>
                </c:pt>
                <c:pt idx="187">
                  <c:v>0.39524139524139523</c:v>
                </c:pt>
                <c:pt idx="188">
                  <c:v>0.33589213003137308</c:v>
                </c:pt>
                <c:pt idx="189">
                  <c:v>0.39521956642579209</c:v>
                </c:pt>
                <c:pt idx="190">
                  <c:v>0.37359688988665607</c:v>
                </c:pt>
                <c:pt idx="191">
                  <c:v>0.33362239841427155</c:v>
                </c:pt>
                <c:pt idx="192">
                  <c:v>0.42996434143080009</c:v>
                </c:pt>
                <c:pt idx="193">
                  <c:v>0.37903542020650893</c:v>
                </c:pt>
                <c:pt idx="194">
                  <c:v>0.39868105515587532</c:v>
                </c:pt>
                <c:pt idx="195">
                  <c:v>0.31682299750320536</c:v>
                </c:pt>
                <c:pt idx="196">
                  <c:v>0.38553291998819011</c:v>
                </c:pt>
                <c:pt idx="197">
                  <c:v>0.37002507554812575</c:v>
                </c:pt>
                <c:pt idx="198">
                  <c:v>0.35059931506849318</c:v>
                </c:pt>
                <c:pt idx="199">
                  <c:v>0.30478411419687657</c:v>
                </c:pt>
                <c:pt idx="200">
                  <c:v>0.31013862462625713</c:v>
                </c:pt>
                <c:pt idx="201">
                  <c:v>0.3180049522461974</c:v>
                </c:pt>
                <c:pt idx="202">
                  <c:v>0.25971773239769769</c:v>
                </c:pt>
                <c:pt idx="203">
                  <c:v>0.32795314025382361</c:v>
                </c:pt>
                <c:pt idx="204">
                  <c:v>0.33097034834972178</c:v>
                </c:pt>
                <c:pt idx="205">
                  <c:v>0.27108895705521474</c:v>
                </c:pt>
                <c:pt idx="206">
                  <c:v>0.27842471292252952</c:v>
                </c:pt>
                <c:pt idx="207">
                  <c:v>0.31716855690262025</c:v>
                </c:pt>
                <c:pt idx="208">
                  <c:v>0.16096682951915658</c:v>
                </c:pt>
                <c:pt idx="209">
                  <c:v>0.23473995639987544</c:v>
                </c:pt>
                <c:pt idx="210">
                  <c:v>0.2831987193480317</c:v>
                </c:pt>
                <c:pt idx="211">
                  <c:v>0.27207075624797145</c:v>
                </c:pt>
                <c:pt idx="212">
                  <c:v>0.25775070460950994</c:v>
                </c:pt>
                <c:pt idx="213">
                  <c:v>0.28422565576715775</c:v>
                </c:pt>
                <c:pt idx="214">
                  <c:v>0.26818742293464859</c:v>
                </c:pt>
                <c:pt idx="215">
                  <c:v>0.2643224022125642</c:v>
                </c:pt>
                <c:pt idx="216">
                  <c:v>0.13196555217831812</c:v>
                </c:pt>
                <c:pt idx="217">
                  <c:v>0.20277163747661961</c:v>
                </c:pt>
                <c:pt idx="218">
                  <c:v>0.26612777864138037</c:v>
                </c:pt>
                <c:pt idx="219">
                  <c:v>0.25877365930599366</c:v>
                </c:pt>
                <c:pt idx="220">
                  <c:v>0.22113914373088686</c:v>
                </c:pt>
                <c:pt idx="221">
                  <c:v>0.1954498448810755</c:v>
                </c:pt>
                <c:pt idx="222">
                  <c:v>0.16909492273730684</c:v>
                </c:pt>
                <c:pt idx="223">
                  <c:v>0.13302286198137173</c:v>
                </c:pt>
                <c:pt idx="224">
                  <c:v>0.19670138888888888</c:v>
                </c:pt>
                <c:pt idx="225">
                  <c:v>0.16102593771092469</c:v>
                </c:pt>
                <c:pt idx="226">
                  <c:v>0.17645693057812864</c:v>
                </c:pt>
                <c:pt idx="227">
                  <c:v>0.15862698141179155</c:v>
                </c:pt>
                <c:pt idx="228">
                  <c:v>0.15289256198347106</c:v>
                </c:pt>
                <c:pt idx="229">
                  <c:v>0.14030131826741996</c:v>
                </c:pt>
                <c:pt idx="230">
                  <c:v>0.12981634857760174</c:v>
                </c:pt>
                <c:pt idx="231">
                  <c:v>0.1669048299514147</c:v>
                </c:pt>
                <c:pt idx="232">
                  <c:v>0.15164981668703478</c:v>
                </c:pt>
                <c:pt idx="233">
                  <c:v>0.14901324006994754</c:v>
                </c:pt>
                <c:pt idx="234">
                  <c:v>0.13327569169960474</c:v>
                </c:pt>
                <c:pt idx="235">
                  <c:v>0.14248871695680207</c:v>
                </c:pt>
                <c:pt idx="236">
                  <c:v>0.16615760537568725</c:v>
                </c:pt>
                <c:pt idx="237">
                  <c:v>0.115704997968305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  <c:majorTimeUnit val="days"/>
      </c:dateAx>
      <c:valAx>
        <c:axId val="414859336"/>
        <c:scaling>
          <c:orientation val="minMax"/>
          <c:max val="0.70000000000000007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% pozitivních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03</c:f>
              <c:numCache>
                <c:formatCode>m/d/yyyy</c:formatCode>
                <c:ptCount val="50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</c:numCache>
            </c:numRef>
          </c:cat>
          <c:val>
            <c:numRef>
              <c:f>Sheet1!$B$2:$B$503</c:f>
              <c:numCache>
                <c:formatCode>General</c:formatCode>
                <c:ptCount val="502"/>
                <c:pt idx="0">
                  <c:v>3.9342629482071713E-2</c:v>
                </c:pt>
                <c:pt idx="1">
                  <c:v>5.4358013120899717E-2</c:v>
                </c:pt>
                <c:pt idx="2">
                  <c:v>6.2735849056603774E-2</c:v>
                </c:pt>
                <c:pt idx="3">
                  <c:v>6.8233510235026537E-2</c:v>
                </c:pt>
                <c:pt idx="4">
                  <c:v>6.5979381443298971E-2</c:v>
                </c:pt>
                <c:pt idx="5">
                  <c:v>8.191126279863481E-2</c:v>
                </c:pt>
                <c:pt idx="6">
                  <c:v>5.0544662309368195E-2</c:v>
                </c:pt>
                <c:pt idx="7">
                  <c:v>6.8552105748539816E-2</c:v>
                </c:pt>
                <c:pt idx="8">
                  <c:v>8.0924855491329481E-2</c:v>
                </c:pt>
                <c:pt idx="9">
                  <c:v>8.5554371002132201E-2</c:v>
                </c:pt>
                <c:pt idx="10">
                  <c:v>7.4796747967479676E-2</c:v>
                </c:pt>
                <c:pt idx="11">
                  <c:v>0.10524600847181492</c:v>
                </c:pt>
                <c:pt idx="12">
                  <c:v>0.107559926244622</c:v>
                </c:pt>
                <c:pt idx="13">
                  <c:v>5.8615462354724611E-2</c:v>
                </c:pt>
                <c:pt idx="14">
                  <c:v>8.581472291149711E-2</c:v>
                </c:pt>
                <c:pt idx="15">
                  <c:v>0.10586050350804788</c:v>
                </c:pt>
                <c:pt idx="16">
                  <c:v>0.12371134020618557</c:v>
                </c:pt>
                <c:pt idx="17">
                  <c:v>9.2544510385756673E-2</c:v>
                </c:pt>
                <c:pt idx="18">
                  <c:v>0.11205073995771671</c:v>
                </c:pt>
                <c:pt idx="19">
                  <c:v>8.5769230769230764E-2</c:v>
                </c:pt>
                <c:pt idx="20">
                  <c:v>8.3351468988030461E-2</c:v>
                </c:pt>
                <c:pt idx="21">
                  <c:v>9.9407626804887073E-2</c:v>
                </c:pt>
                <c:pt idx="22">
                  <c:v>9.8750433877125995E-2</c:v>
                </c:pt>
                <c:pt idx="23">
                  <c:v>0.12067510548523207</c:v>
                </c:pt>
                <c:pt idx="24">
                  <c:v>0.11518243661100803</c:v>
                </c:pt>
                <c:pt idx="25">
                  <c:v>0.12646253422952453</c:v>
                </c:pt>
                <c:pt idx="26">
                  <c:v>0.11930983847283406</c:v>
                </c:pt>
                <c:pt idx="27">
                  <c:v>0.10061382439284761</c:v>
                </c:pt>
                <c:pt idx="28">
                  <c:v>0.10851063829787234</c:v>
                </c:pt>
                <c:pt idx="29">
                  <c:v>0.1294254207777133</c:v>
                </c:pt>
                <c:pt idx="30">
                  <c:v>0.1408497825359652</c:v>
                </c:pt>
                <c:pt idx="31">
                  <c:v>0.16204727087230064</c:v>
                </c:pt>
                <c:pt idx="32">
                  <c:v>0.16387132251855926</c:v>
                </c:pt>
                <c:pt idx="33">
                  <c:v>0.23148688046647231</c:v>
                </c:pt>
                <c:pt idx="34">
                  <c:v>0.18210247774837623</c:v>
                </c:pt>
                <c:pt idx="35">
                  <c:v>0.17536309844002151</c:v>
                </c:pt>
                <c:pt idx="36">
                  <c:v>0.20646635037778949</c:v>
                </c:pt>
                <c:pt idx="37">
                  <c:v>0.19832214765100672</c:v>
                </c:pt>
                <c:pt idx="38">
                  <c:v>0.27854472246189244</c:v>
                </c:pt>
                <c:pt idx="39">
                  <c:v>0.24039623097366514</c:v>
                </c:pt>
                <c:pt idx="40">
                  <c:v>0.23154949282966072</c:v>
                </c:pt>
                <c:pt idx="41">
                  <c:v>0.20374094931617057</c:v>
                </c:pt>
                <c:pt idx="42">
                  <c:v>0.22839506172839505</c:v>
                </c:pt>
                <c:pt idx="43">
                  <c:v>0.23407073784607232</c:v>
                </c:pt>
                <c:pt idx="44">
                  <c:v>0.23497124934657607</c:v>
                </c:pt>
                <c:pt idx="45">
                  <c:v>0.25428082191780821</c:v>
                </c:pt>
                <c:pt idx="46">
                  <c:v>0.24044296116504854</c:v>
                </c:pt>
                <c:pt idx="47">
                  <c:v>0.24510024780355935</c:v>
                </c:pt>
                <c:pt idx="48">
                  <c:v>0.23548107483386305</c:v>
                </c:pt>
                <c:pt idx="49">
                  <c:v>0.23931806073521578</c:v>
                </c:pt>
                <c:pt idx="50">
                  <c:v>0.27645305514157975</c:v>
                </c:pt>
                <c:pt idx="51">
                  <c:v>0.25802197802197802</c:v>
                </c:pt>
                <c:pt idx="52">
                  <c:v>0.27664318202086863</c:v>
                </c:pt>
                <c:pt idx="53">
                  <c:v>0.25566700100300904</c:v>
                </c:pt>
                <c:pt idx="54">
                  <c:v>0.28101802757158006</c:v>
                </c:pt>
                <c:pt idx="55">
                  <c:v>0.25621118012422361</c:v>
                </c:pt>
                <c:pt idx="56">
                  <c:v>0.27253044654939107</c:v>
                </c:pt>
                <c:pt idx="57">
                  <c:v>0.25208153890324431</c:v>
                </c:pt>
                <c:pt idx="58">
                  <c:v>0.24038720086044635</c:v>
                </c:pt>
                <c:pt idx="59">
                  <c:v>0.24123337363966144</c:v>
                </c:pt>
                <c:pt idx="60">
                  <c:v>0.25386151098035092</c:v>
                </c:pt>
                <c:pt idx="61">
                  <c:v>0.27687851422729598</c:v>
                </c:pt>
                <c:pt idx="62">
                  <c:v>0.22726694645809487</c:v>
                </c:pt>
                <c:pt idx="63">
                  <c:v>0.22580339368660537</c:v>
                </c:pt>
                <c:pt idx="64">
                  <c:v>0.27482377512836131</c:v>
                </c:pt>
                <c:pt idx="65">
                  <c:v>0.24397150164413592</c:v>
                </c:pt>
                <c:pt idx="66">
                  <c:v>0.25314739492543092</c:v>
                </c:pt>
                <c:pt idx="67">
                  <c:v>0.2622076323348379</c:v>
                </c:pt>
                <c:pt idx="68">
                  <c:v>0.23416551086453999</c:v>
                </c:pt>
                <c:pt idx="69">
                  <c:v>0.18843930635838149</c:v>
                </c:pt>
                <c:pt idx="70">
                  <c:v>0.2028560620389635</c:v>
                </c:pt>
                <c:pt idx="71">
                  <c:v>0.20548078798517652</c:v>
                </c:pt>
                <c:pt idx="72">
                  <c:v>0.21034597104012379</c:v>
                </c:pt>
                <c:pt idx="73">
                  <c:v>0.20715652076066163</c:v>
                </c:pt>
                <c:pt idx="74">
                  <c:v>0.23864128083080918</c:v>
                </c:pt>
                <c:pt idx="75">
                  <c:v>0.22125567322239031</c:v>
                </c:pt>
                <c:pt idx="76">
                  <c:v>0.15925925925925927</c:v>
                </c:pt>
                <c:pt idx="77">
                  <c:v>0.22222222222222221</c:v>
                </c:pt>
                <c:pt idx="78">
                  <c:v>0.18041304065463046</c:v>
                </c:pt>
                <c:pt idx="79">
                  <c:v>0.21072386058981232</c:v>
                </c:pt>
                <c:pt idx="80">
                  <c:v>0.21336831929291533</c:v>
                </c:pt>
                <c:pt idx="81">
                  <c:v>0.20442737745651682</c:v>
                </c:pt>
                <c:pt idx="82">
                  <c:v>0.2151750972762646</c:v>
                </c:pt>
                <c:pt idx="83">
                  <c:v>0.13251859723698192</c:v>
                </c:pt>
                <c:pt idx="84">
                  <c:v>0.19821795750514051</c:v>
                </c:pt>
                <c:pt idx="85">
                  <c:v>0.18252952055768956</c:v>
                </c:pt>
                <c:pt idx="86">
                  <c:v>0.16709677419354838</c:v>
                </c:pt>
                <c:pt idx="87">
                  <c:v>0.18474957050350205</c:v>
                </c:pt>
                <c:pt idx="88">
                  <c:v>0.22451398767188241</c:v>
                </c:pt>
                <c:pt idx="89">
                  <c:v>0.20048309178743962</c:v>
                </c:pt>
                <c:pt idx="90">
                  <c:v>0.11332885519623837</c:v>
                </c:pt>
                <c:pt idx="91">
                  <c:v>0.19070785696910728</c:v>
                </c:pt>
                <c:pt idx="92">
                  <c:v>0.1788793103448276</c:v>
                </c:pt>
                <c:pt idx="93">
                  <c:v>0.19731933121459169</c:v>
                </c:pt>
                <c:pt idx="94">
                  <c:v>0.19966402687784976</c:v>
                </c:pt>
                <c:pt idx="95">
                  <c:v>0.27066866054261912</c:v>
                </c:pt>
                <c:pt idx="96">
                  <c:v>0.16582064297800339</c:v>
                </c:pt>
                <c:pt idx="97">
                  <c:v>0.13051555968416165</c:v>
                </c:pt>
                <c:pt idx="98">
                  <c:v>0.18833988009096547</c:v>
                </c:pt>
                <c:pt idx="99">
                  <c:v>0.1988112318097971</c:v>
                </c:pt>
                <c:pt idx="100">
                  <c:v>0.20533059969246539</c:v>
                </c:pt>
                <c:pt idx="101">
                  <c:v>0.18800108098369517</c:v>
                </c:pt>
                <c:pt idx="102">
                  <c:v>0.21034816247582205</c:v>
                </c:pt>
                <c:pt idx="103">
                  <c:v>0.2169840774274118</c:v>
                </c:pt>
                <c:pt idx="104">
                  <c:v>0.13898816615042492</c:v>
                </c:pt>
                <c:pt idx="105">
                  <c:v>0.19636015325670497</c:v>
                </c:pt>
                <c:pt idx="106">
                  <c:v>0.18287614297589361</c:v>
                </c:pt>
                <c:pt idx="107">
                  <c:v>0.17410499277572644</c:v>
                </c:pt>
                <c:pt idx="108">
                  <c:v>0.18028780885147977</c:v>
                </c:pt>
                <c:pt idx="109">
                  <c:v>0.17766497461928935</c:v>
                </c:pt>
                <c:pt idx="110">
                  <c:v>0.18739695915002746</c:v>
                </c:pt>
                <c:pt idx="111">
                  <c:v>0.14622808049899966</c:v>
                </c:pt>
                <c:pt idx="112">
                  <c:v>0.17034666666666667</c:v>
                </c:pt>
                <c:pt idx="113">
                  <c:v>0.18405378575940801</c:v>
                </c:pt>
                <c:pt idx="114">
                  <c:v>0.23644933228593873</c:v>
                </c:pt>
                <c:pt idx="115">
                  <c:v>0.21925789635081264</c:v>
                </c:pt>
                <c:pt idx="116">
                  <c:v>0.18721755971594578</c:v>
                </c:pt>
                <c:pt idx="117">
                  <c:v>0.19572768322334144</c:v>
                </c:pt>
                <c:pt idx="118">
                  <c:v>0.20335788932670892</c:v>
                </c:pt>
                <c:pt idx="119">
                  <c:v>0.27007376744679723</c:v>
                </c:pt>
                <c:pt idx="120">
                  <c:v>0.27152797105482884</c:v>
                </c:pt>
                <c:pt idx="121">
                  <c:v>0.3022309425187123</c:v>
                </c:pt>
                <c:pt idx="122">
                  <c:v>0.35783994795055302</c:v>
                </c:pt>
                <c:pt idx="123">
                  <c:v>0.20540776275621456</c:v>
                </c:pt>
                <c:pt idx="124">
                  <c:v>0.25974884335756776</c:v>
                </c:pt>
                <c:pt idx="125">
                  <c:v>0.19908874801901744</c:v>
                </c:pt>
                <c:pt idx="126">
                  <c:v>0.25046978538225695</c:v>
                </c:pt>
                <c:pt idx="127">
                  <c:v>0.29151546569898046</c:v>
                </c:pt>
                <c:pt idx="128">
                  <c:v>0.26301215032495057</c:v>
                </c:pt>
                <c:pt idx="129">
                  <c:v>0.22670038743004736</c:v>
                </c:pt>
                <c:pt idx="130">
                  <c:v>0.28413248603889851</c:v>
                </c:pt>
                <c:pt idx="131">
                  <c:v>0.23642569035060504</c:v>
                </c:pt>
                <c:pt idx="132">
                  <c:v>0.15765525920906143</c:v>
                </c:pt>
                <c:pt idx="133">
                  <c:v>0.20697395208017957</c:v>
                </c:pt>
                <c:pt idx="134">
                  <c:v>0.22939626257786297</c:v>
                </c:pt>
                <c:pt idx="135">
                  <c:v>0.18133114836757847</c:v>
                </c:pt>
                <c:pt idx="136">
                  <c:v>0.21021681021681021</c:v>
                </c:pt>
                <c:pt idx="137">
                  <c:v>0.24312234399463206</c:v>
                </c:pt>
                <c:pt idx="138">
                  <c:v>0.22559422750424449</c:v>
                </c:pt>
                <c:pt idx="139">
                  <c:v>0.16156416014020483</c:v>
                </c:pt>
                <c:pt idx="140">
                  <c:v>0.22343730582825899</c:v>
                </c:pt>
                <c:pt idx="141">
                  <c:v>0.20644167671086111</c:v>
                </c:pt>
                <c:pt idx="142">
                  <c:v>0.2016787658802178</c:v>
                </c:pt>
                <c:pt idx="143">
                  <c:v>0.19654771377853952</c:v>
                </c:pt>
                <c:pt idx="144">
                  <c:v>0.22719190261250172</c:v>
                </c:pt>
                <c:pt idx="145">
                  <c:v>0.20722992854140396</c:v>
                </c:pt>
                <c:pt idx="146">
                  <c:v>0.15133547913490317</c:v>
                </c:pt>
                <c:pt idx="147">
                  <c:v>0.22450782433114588</c:v>
                </c:pt>
                <c:pt idx="148">
                  <c:v>0.18590831918505943</c:v>
                </c:pt>
                <c:pt idx="149">
                  <c:v>0.22169878658101355</c:v>
                </c:pt>
                <c:pt idx="150">
                  <c:v>0.19331756357185098</c:v>
                </c:pt>
                <c:pt idx="151">
                  <c:v>0.20718921617573641</c:v>
                </c:pt>
                <c:pt idx="152">
                  <c:v>0.20632963419646527</c:v>
                </c:pt>
                <c:pt idx="153">
                  <c:v>0.15093636944030644</c:v>
                </c:pt>
                <c:pt idx="154">
                  <c:v>0.20141535111594991</c:v>
                </c:pt>
                <c:pt idx="155">
                  <c:v>0.21791996222405854</c:v>
                </c:pt>
                <c:pt idx="156">
                  <c:v>0.19456012493492972</c:v>
                </c:pt>
                <c:pt idx="157">
                  <c:v>0.1913380001138239</c:v>
                </c:pt>
                <c:pt idx="158">
                  <c:v>0.24100011575413821</c:v>
                </c:pt>
                <c:pt idx="159">
                  <c:v>0.18045540796963946</c:v>
                </c:pt>
                <c:pt idx="160">
                  <c:v>0.16638926174496643</c:v>
                </c:pt>
                <c:pt idx="161">
                  <c:v>0.21790244969378827</c:v>
                </c:pt>
                <c:pt idx="162">
                  <c:v>0.20749618141228998</c:v>
                </c:pt>
                <c:pt idx="163">
                  <c:v>0.20668942842690946</c:v>
                </c:pt>
                <c:pt idx="164">
                  <c:v>0.19093398915655915</c:v>
                </c:pt>
                <c:pt idx="165">
                  <c:v>0.21871587682900195</c:v>
                </c:pt>
                <c:pt idx="166">
                  <c:v>0.20291459140380003</c:v>
                </c:pt>
                <c:pt idx="167">
                  <c:v>0.17480026951583405</c:v>
                </c:pt>
                <c:pt idx="168">
                  <c:v>0.2359539308963445</c:v>
                </c:pt>
                <c:pt idx="169">
                  <c:v>0.20384315762139704</c:v>
                </c:pt>
                <c:pt idx="170">
                  <c:v>0.21841210997837504</c:v>
                </c:pt>
                <c:pt idx="171">
                  <c:v>0.1934686025740851</c:v>
                </c:pt>
                <c:pt idx="172">
                  <c:v>0.25009130752373998</c:v>
                </c:pt>
                <c:pt idx="173">
                  <c:v>0.22974389695971245</c:v>
                </c:pt>
                <c:pt idx="174">
                  <c:v>0.1813836778587645</c:v>
                </c:pt>
                <c:pt idx="175">
                  <c:v>0.2427376488524455</c:v>
                </c:pt>
                <c:pt idx="176">
                  <c:v>0.20506835611870625</c:v>
                </c:pt>
                <c:pt idx="177">
                  <c:v>0.22532308617062385</c:v>
                </c:pt>
                <c:pt idx="178">
                  <c:v>0.20664676616915423</c:v>
                </c:pt>
                <c:pt idx="179">
                  <c:v>0.22094888837955534</c:v>
                </c:pt>
                <c:pt idx="180">
                  <c:v>0.21480370092523129</c:v>
                </c:pt>
                <c:pt idx="181">
                  <c:v>0.17508051831323496</c:v>
                </c:pt>
                <c:pt idx="182">
                  <c:v>0.22483258722113286</c:v>
                </c:pt>
                <c:pt idx="183">
                  <c:v>0.21332648708428786</c:v>
                </c:pt>
                <c:pt idx="184">
                  <c:v>0.19521076588165445</c:v>
                </c:pt>
                <c:pt idx="185">
                  <c:v>0.17092744571138063</c:v>
                </c:pt>
                <c:pt idx="186">
                  <c:v>0.26595744680851063</c:v>
                </c:pt>
                <c:pt idx="187">
                  <c:v>0.17442461856736488</c:v>
                </c:pt>
                <c:pt idx="188">
                  <c:v>0.1310183280048115</c:v>
                </c:pt>
                <c:pt idx="189">
                  <c:v>0.18041553970985985</c:v>
                </c:pt>
                <c:pt idx="190">
                  <c:v>0.1662066850659307</c:v>
                </c:pt>
                <c:pt idx="191">
                  <c:v>0.12728314134792848</c:v>
                </c:pt>
                <c:pt idx="192">
                  <c:v>0.16930734944854736</c:v>
                </c:pt>
                <c:pt idx="193">
                  <c:v>0.22288054369608784</c:v>
                </c:pt>
                <c:pt idx="194">
                  <c:v>0.16071198245840321</c:v>
                </c:pt>
                <c:pt idx="195">
                  <c:v>0.1222785156784883</c:v>
                </c:pt>
                <c:pt idx="196">
                  <c:v>0.16015763897119828</c:v>
                </c:pt>
                <c:pt idx="197">
                  <c:v>0.14217994600364162</c:v>
                </c:pt>
                <c:pt idx="198">
                  <c:v>0.13535495531679886</c:v>
                </c:pt>
                <c:pt idx="199">
                  <c:v>0.13695505870036642</c:v>
                </c:pt>
                <c:pt idx="200">
                  <c:v>0.20858264771877338</c:v>
                </c:pt>
                <c:pt idx="201">
                  <c:v>0.12944689690989353</c:v>
                </c:pt>
                <c:pt idx="202">
                  <c:v>9.9069780055867432E-2</c:v>
                </c:pt>
                <c:pt idx="203">
                  <c:v>0.13381758053562465</c:v>
                </c:pt>
                <c:pt idx="204">
                  <c:v>0.11079014443500425</c:v>
                </c:pt>
                <c:pt idx="205">
                  <c:v>0.10561297282249366</c:v>
                </c:pt>
                <c:pt idx="206">
                  <c:v>0.12330574547199233</c:v>
                </c:pt>
                <c:pt idx="207">
                  <c:v>0.19105053672657099</c:v>
                </c:pt>
                <c:pt idx="208">
                  <c:v>0.12956172516151562</c:v>
                </c:pt>
                <c:pt idx="209">
                  <c:v>8.5619770383343063E-2</c:v>
                </c:pt>
                <c:pt idx="210">
                  <c:v>0.11244615733393788</c:v>
                </c:pt>
                <c:pt idx="211">
                  <c:v>9.5837934842628383E-2</c:v>
                </c:pt>
                <c:pt idx="212">
                  <c:v>7.7812895069532234E-2</c:v>
                </c:pt>
                <c:pt idx="213">
                  <c:v>0.15054866167572556</c:v>
                </c:pt>
                <c:pt idx="214">
                  <c:v>0.16065361591975408</c:v>
                </c:pt>
                <c:pt idx="215">
                  <c:v>0.15009816169908977</c:v>
                </c:pt>
                <c:pt idx="216">
                  <c:v>9.3711843711843712E-2</c:v>
                </c:pt>
                <c:pt idx="217">
                  <c:v>5.4613433035118175E-2</c:v>
                </c:pt>
                <c:pt idx="218">
                  <c:v>8.0781398777528643E-2</c:v>
                </c:pt>
                <c:pt idx="219">
                  <c:v>7.0398965504126568E-2</c:v>
                </c:pt>
                <c:pt idx="220">
                  <c:v>8.5164965582720145E-2</c:v>
                </c:pt>
                <c:pt idx="221">
                  <c:v>0.12651570489408329</c:v>
                </c:pt>
                <c:pt idx="222">
                  <c:v>6.9174161896974659E-2</c:v>
                </c:pt>
                <c:pt idx="223">
                  <c:v>5.1786822736543406E-2</c:v>
                </c:pt>
                <c:pt idx="224">
                  <c:v>6.8598811829192238E-2</c:v>
                </c:pt>
                <c:pt idx="225">
                  <c:v>5.5987500465012462E-2</c:v>
                </c:pt>
                <c:pt idx="226">
                  <c:v>5.0527662296130475E-2</c:v>
                </c:pt>
                <c:pt idx="227">
                  <c:v>7.2292976800718708E-2</c:v>
                </c:pt>
                <c:pt idx="228">
                  <c:v>0.10381655410711481</c:v>
                </c:pt>
                <c:pt idx="229">
                  <c:v>5.9551430781129157E-2</c:v>
                </c:pt>
                <c:pt idx="230">
                  <c:v>4.5138033029332017E-2</c:v>
                </c:pt>
                <c:pt idx="231">
                  <c:v>5.2538263921554439E-2</c:v>
                </c:pt>
                <c:pt idx="232">
                  <c:v>4.8354244744989408E-2</c:v>
                </c:pt>
                <c:pt idx="233">
                  <c:v>4.3731778425655975E-2</c:v>
                </c:pt>
                <c:pt idx="234">
                  <c:v>6.3756299190306329E-2</c:v>
                </c:pt>
                <c:pt idx="235">
                  <c:v>9.5440431443046245E-2</c:v>
                </c:pt>
                <c:pt idx="236">
                  <c:v>7.0874471086036672E-2</c:v>
                </c:pt>
                <c:pt idx="237">
                  <c:v>4.459384199220303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</c:dateAx>
      <c:valAx>
        <c:axId val="414859336"/>
        <c:scaling>
          <c:orientation val="minMax"/>
          <c:max val="0.5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Jihomoravský kraj</c:v>
                </c:pt>
                <c:pt idx="4">
                  <c:v>Kraj Vysočina</c:v>
                </c:pt>
                <c:pt idx="5">
                  <c:v>Ústecký kraj</c:v>
                </c:pt>
                <c:pt idx="6">
                  <c:v>Pardubický kraj</c:v>
                </c:pt>
                <c:pt idx="7">
                  <c:v>Plzeňský kraj</c:v>
                </c:pt>
                <c:pt idx="8">
                  <c:v>Liberecký kraj</c:v>
                </c:pt>
                <c:pt idx="9">
                  <c:v>ČR</c:v>
                </c:pt>
                <c:pt idx="10">
                  <c:v>Moravskoslezský kraj</c:v>
                </c:pt>
                <c:pt idx="11">
                  <c:v>Středočeský kraj</c:v>
                </c:pt>
                <c:pt idx="12">
                  <c:v>Hlavní město Prah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0.24019724807100001</c:v>
                </c:pt>
                <c:pt idx="1">
                  <c:v>0.26748410535799999</c:v>
                </c:pt>
                <c:pt idx="2">
                  <c:v>0.13952282157599999</c:v>
                </c:pt>
                <c:pt idx="3">
                  <c:v>0.20162012537599999</c:v>
                </c:pt>
                <c:pt idx="4">
                  <c:v>0.21522512764900001</c:v>
                </c:pt>
                <c:pt idx="5">
                  <c:v>0.199112412499</c:v>
                </c:pt>
                <c:pt idx="6">
                  <c:v>0.17129794985300001</c:v>
                </c:pt>
                <c:pt idx="7">
                  <c:v>0.21976011384399999</c:v>
                </c:pt>
                <c:pt idx="8">
                  <c:v>0.21327945833699999</c:v>
                </c:pt>
                <c:pt idx="9">
                  <c:v>0.18107356165999999</c:v>
                </c:pt>
                <c:pt idx="10">
                  <c:v>0.15225243644700001</c:v>
                </c:pt>
                <c:pt idx="11">
                  <c:v>0.19770575634000001</c:v>
                </c:pt>
                <c:pt idx="12">
                  <c:v>0.13002039535599999</c:v>
                </c:pt>
                <c:pt idx="13">
                  <c:v>0.117491014889</c:v>
                </c:pt>
                <c:pt idx="14">
                  <c:v>9.717675940999999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FD-4C6E-9F7A-BB34FB4B8147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Jihomoravský kraj</c:v>
                </c:pt>
                <c:pt idx="4">
                  <c:v>Kraj Vysočina</c:v>
                </c:pt>
                <c:pt idx="5">
                  <c:v>Ústecký kraj</c:v>
                </c:pt>
                <c:pt idx="6">
                  <c:v>Pardubický kraj</c:v>
                </c:pt>
                <c:pt idx="7">
                  <c:v>Plzeňský kraj</c:v>
                </c:pt>
                <c:pt idx="8">
                  <c:v>Liberecký kraj</c:v>
                </c:pt>
                <c:pt idx="9">
                  <c:v>ČR</c:v>
                </c:pt>
                <c:pt idx="10">
                  <c:v>Moravskoslezský kraj</c:v>
                </c:pt>
                <c:pt idx="11">
                  <c:v>Středočeský kraj</c:v>
                </c:pt>
                <c:pt idx="12">
                  <c:v>Hlavní město Prah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0.23642775135300001</c:v>
                </c:pt>
                <c:pt idx="1">
                  <c:v>0.21597157600799999</c:v>
                </c:pt>
                <c:pt idx="2">
                  <c:v>0.117558483463</c:v>
                </c:pt>
                <c:pt idx="3">
                  <c:v>0.13952037086499999</c:v>
                </c:pt>
                <c:pt idx="4">
                  <c:v>0.170620363577</c:v>
                </c:pt>
                <c:pt idx="5">
                  <c:v>0.137219027705</c:v>
                </c:pt>
                <c:pt idx="6">
                  <c:v>0.13155021834</c:v>
                </c:pt>
                <c:pt idx="7">
                  <c:v>0.129883705736</c:v>
                </c:pt>
                <c:pt idx="8">
                  <c:v>0.153433750319</c:v>
                </c:pt>
                <c:pt idx="9">
                  <c:v>0.13109148941900001</c:v>
                </c:pt>
                <c:pt idx="10">
                  <c:v>0.117625792881</c:v>
                </c:pt>
                <c:pt idx="11">
                  <c:v>0.122824974411</c:v>
                </c:pt>
                <c:pt idx="12">
                  <c:v>8.4059623686000007E-2</c:v>
                </c:pt>
                <c:pt idx="13">
                  <c:v>5.7250470808999997E-2</c:v>
                </c:pt>
                <c:pt idx="14">
                  <c:v>6.0850111855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FD-4C6E-9F7A-BB34FB4B8147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26.4.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Jihomoravský kraj</c:v>
                </c:pt>
                <c:pt idx="4">
                  <c:v>Kraj Vysočina</c:v>
                </c:pt>
                <c:pt idx="5">
                  <c:v>Ústecký kraj</c:v>
                </c:pt>
                <c:pt idx="6">
                  <c:v>Pardubický kraj</c:v>
                </c:pt>
                <c:pt idx="7">
                  <c:v>Plzeňský kraj</c:v>
                </c:pt>
                <c:pt idx="8">
                  <c:v>Liberecký kraj</c:v>
                </c:pt>
                <c:pt idx="9">
                  <c:v>ČR</c:v>
                </c:pt>
                <c:pt idx="10">
                  <c:v>Moravskoslezský kraj</c:v>
                </c:pt>
                <c:pt idx="11">
                  <c:v>Středočeský kraj</c:v>
                </c:pt>
                <c:pt idx="12">
                  <c:v>Hlavní město Prah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0.17690042534600001</c:v>
                </c:pt>
                <c:pt idx="1">
                  <c:v>0.15692378646300001</c:v>
                </c:pt>
                <c:pt idx="2">
                  <c:v>0.11301868862800001</c:v>
                </c:pt>
                <c:pt idx="3">
                  <c:v>0.112026541332</c:v>
                </c:pt>
                <c:pt idx="4">
                  <c:v>0.102410241024</c:v>
                </c:pt>
                <c:pt idx="5">
                  <c:v>0.10189160182400001</c:v>
                </c:pt>
                <c:pt idx="6">
                  <c:v>0.101004192258</c:v>
                </c:pt>
                <c:pt idx="7">
                  <c:v>9.4465184223000001E-2</c:v>
                </c:pt>
                <c:pt idx="8">
                  <c:v>9.3467685891999996E-2</c:v>
                </c:pt>
                <c:pt idx="9">
                  <c:v>9.3417498207999994E-2</c:v>
                </c:pt>
                <c:pt idx="10">
                  <c:v>8.6463667278999998E-2</c:v>
                </c:pt>
                <c:pt idx="11">
                  <c:v>8.1401159304000006E-2</c:v>
                </c:pt>
                <c:pt idx="12">
                  <c:v>5.0562778117000003E-2</c:v>
                </c:pt>
                <c:pt idx="13">
                  <c:v>3.4750337381000002E-2</c:v>
                </c:pt>
                <c:pt idx="14">
                  <c:v>3.0938378930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FD-4C6E-9F7A-BB34FB4B81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6.4.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8E-4319-A6B1-3BB003D05972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Jihomoravský kraj</c:v>
                </c:pt>
                <c:pt idx="4">
                  <c:v>Kraj Vysočina</c:v>
                </c:pt>
                <c:pt idx="5">
                  <c:v>Ústecký kraj</c:v>
                </c:pt>
                <c:pt idx="6">
                  <c:v>Pardubický kraj</c:v>
                </c:pt>
                <c:pt idx="7">
                  <c:v>Plzeňský kraj</c:v>
                </c:pt>
                <c:pt idx="8">
                  <c:v>Liberecký kraj</c:v>
                </c:pt>
                <c:pt idx="9">
                  <c:v>ČR</c:v>
                </c:pt>
                <c:pt idx="10">
                  <c:v>Moravskoslezský kraj</c:v>
                </c:pt>
                <c:pt idx="11">
                  <c:v>Středočeský kraj</c:v>
                </c:pt>
                <c:pt idx="12">
                  <c:v>Hlavní město Prah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0.17690042534600001</c:v>
                </c:pt>
                <c:pt idx="1">
                  <c:v>0.15692378646300001</c:v>
                </c:pt>
                <c:pt idx="2">
                  <c:v>0.11301868862800001</c:v>
                </c:pt>
                <c:pt idx="3">
                  <c:v>0.112026541332</c:v>
                </c:pt>
                <c:pt idx="4">
                  <c:v>0.102410241024</c:v>
                </c:pt>
                <c:pt idx="5">
                  <c:v>0.10189160182400001</c:v>
                </c:pt>
                <c:pt idx="6">
                  <c:v>0.101004192258</c:v>
                </c:pt>
                <c:pt idx="7">
                  <c:v>9.4465184223000001E-2</c:v>
                </c:pt>
                <c:pt idx="8">
                  <c:v>9.3467685891999996E-2</c:v>
                </c:pt>
                <c:pt idx="9">
                  <c:v>9.3417498207999994E-2</c:v>
                </c:pt>
                <c:pt idx="10">
                  <c:v>8.6463667278999998E-2</c:v>
                </c:pt>
                <c:pt idx="11">
                  <c:v>8.1401159304000006E-2</c:v>
                </c:pt>
                <c:pt idx="12">
                  <c:v>5.0562778117000003E-2</c:v>
                </c:pt>
                <c:pt idx="13">
                  <c:v>3.4750337381000002E-2</c:v>
                </c:pt>
                <c:pt idx="14">
                  <c:v>3.0938378930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8E-4319-A6B1-3BB003D059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7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moravský kraj</c:v>
                </c:pt>
                <c:pt idx="2">
                  <c:v>Ústecký kraj</c:v>
                </c:pt>
                <c:pt idx="3">
                  <c:v>Olomoucký kraj</c:v>
                </c:pt>
                <c:pt idx="4">
                  <c:v>Plzeňský kraj</c:v>
                </c:pt>
                <c:pt idx="5">
                  <c:v>Moravskoslezský kraj</c:v>
                </c:pt>
                <c:pt idx="6">
                  <c:v>Královéhradecký kraj</c:v>
                </c:pt>
                <c:pt idx="7">
                  <c:v>ČR</c:v>
                </c:pt>
                <c:pt idx="8">
                  <c:v>Středočeský kraj</c:v>
                </c:pt>
                <c:pt idx="9">
                  <c:v>Karlovarský kraj</c:v>
                </c:pt>
                <c:pt idx="10">
                  <c:v>Pardubický kraj</c:v>
                </c:pt>
                <c:pt idx="11">
                  <c:v>Jihočeský kraj</c:v>
                </c:pt>
                <c:pt idx="12">
                  <c:v>Hlavní město Praha</c:v>
                </c:pt>
                <c:pt idx="13">
                  <c:v>Kraj Vysočina</c:v>
                </c:pt>
                <c:pt idx="14">
                  <c:v>Liber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.7643375880000068E-3</c:v>
                </c:pt>
                <c:pt idx="1">
                  <c:v>1.9217729000000072E-3</c:v>
                </c:pt>
                <c:pt idx="2">
                  <c:v>-3.6904458609999941E-3</c:v>
                </c:pt>
                <c:pt idx="3">
                  <c:v>-4.329348115999998E-3</c:v>
                </c:pt>
                <c:pt idx="4">
                  <c:v>-5.132089630000003E-3</c:v>
                </c:pt>
                <c:pt idx="5">
                  <c:v>-8.7710711950000075E-3</c:v>
                </c:pt>
                <c:pt idx="6">
                  <c:v>-8.8427933979999956E-3</c:v>
                </c:pt>
                <c:pt idx="7">
                  <c:v>-9.8976284420000116E-3</c:v>
                </c:pt>
                <c:pt idx="8">
                  <c:v>-1.0373298701999989E-2</c:v>
                </c:pt>
                <c:pt idx="9">
                  <c:v>-1.0430136273999999E-2</c:v>
                </c:pt>
                <c:pt idx="10">
                  <c:v>-1.1044407133999998E-2</c:v>
                </c:pt>
                <c:pt idx="11">
                  <c:v>-1.4420956812999985E-2</c:v>
                </c:pt>
                <c:pt idx="12">
                  <c:v>-1.7313368863999999E-2</c:v>
                </c:pt>
                <c:pt idx="13">
                  <c:v>-2.600505952200001E-2</c:v>
                </c:pt>
                <c:pt idx="14">
                  <c:v>-4.5666589725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12-40DC-A691-E3FFCB2FBAB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4712-40DC-A691-E3FFCB2FBAB7}"/>
              </c:ext>
            </c:extLst>
          </c:dPt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moravský kraj</c:v>
                </c:pt>
                <c:pt idx="2">
                  <c:v>Ústecký kraj</c:v>
                </c:pt>
                <c:pt idx="3">
                  <c:v>Olomoucký kraj</c:v>
                </c:pt>
                <c:pt idx="4">
                  <c:v>Plzeňský kraj</c:v>
                </c:pt>
                <c:pt idx="5">
                  <c:v>Moravskoslezský kraj</c:v>
                </c:pt>
                <c:pt idx="6">
                  <c:v>Královéhradecký kraj</c:v>
                </c:pt>
                <c:pt idx="7">
                  <c:v>ČR</c:v>
                </c:pt>
                <c:pt idx="8">
                  <c:v>Středočeský kraj</c:v>
                </c:pt>
                <c:pt idx="9">
                  <c:v>Karlovarský kraj</c:v>
                </c:pt>
                <c:pt idx="10">
                  <c:v>Pardubický kraj</c:v>
                </c:pt>
                <c:pt idx="11">
                  <c:v>Jihočeský kraj</c:v>
                </c:pt>
                <c:pt idx="12">
                  <c:v>Hlavní město Praha</c:v>
                </c:pt>
                <c:pt idx="13">
                  <c:v>Kraj Vysočina</c:v>
                </c:pt>
                <c:pt idx="14">
                  <c:v>Liber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0</c:v>
                </c:pt>
                <c:pt idx="2">
                  <c:v>-3.6904458609999941E-3</c:v>
                </c:pt>
                <c:pt idx="3">
                  <c:v>-4.329348115999998E-3</c:v>
                </c:pt>
                <c:pt idx="4">
                  <c:v>-5.132089630000003E-3</c:v>
                </c:pt>
                <c:pt idx="5">
                  <c:v>-8.7710711950000075E-3</c:v>
                </c:pt>
                <c:pt idx="6">
                  <c:v>-8.8427933979999956E-3</c:v>
                </c:pt>
                <c:pt idx="7">
                  <c:v>-9.8976284420000116E-3</c:v>
                </c:pt>
                <c:pt idx="8">
                  <c:v>-1.0373298701999989E-2</c:v>
                </c:pt>
                <c:pt idx="9">
                  <c:v>-1.0430136273999999E-2</c:v>
                </c:pt>
                <c:pt idx="10">
                  <c:v>-1.1044407133999998E-2</c:v>
                </c:pt>
                <c:pt idx="11">
                  <c:v>-1.4420956812999985E-2</c:v>
                </c:pt>
                <c:pt idx="12">
                  <c:v>-1.7313368863999999E-2</c:v>
                </c:pt>
                <c:pt idx="13">
                  <c:v>-2.600505952200001E-2</c:v>
                </c:pt>
                <c:pt idx="14">
                  <c:v>-4.5666589725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712-40DC-A691-E3FFCB2FBAB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3059-478B-B7FB-CE466BCADF32}"/>
              </c:ext>
            </c:extLst>
          </c:dPt>
          <c:dPt>
            <c:idx val="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059-478B-B7FB-CE466BCADF32}"/>
              </c:ext>
            </c:extLst>
          </c:dPt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moravský kraj</c:v>
                </c:pt>
                <c:pt idx="2">
                  <c:v>Ústecký kraj</c:v>
                </c:pt>
                <c:pt idx="3">
                  <c:v>Olomoucký kraj</c:v>
                </c:pt>
                <c:pt idx="4">
                  <c:v>Plzeňský kraj</c:v>
                </c:pt>
                <c:pt idx="5">
                  <c:v>Moravskoslezský kraj</c:v>
                </c:pt>
                <c:pt idx="6">
                  <c:v>Královéhradecký kraj</c:v>
                </c:pt>
                <c:pt idx="7">
                  <c:v>ČR</c:v>
                </c:pt>
                <c:pt idx="8">
                  <c:v>Středočeský kraj</c:v>
                </c:pt>
                <c:pt idx="9">
                  <c:v>Karlovarský kraj</c:v>
                </c:pt>
                <c:pt idx="10">
                  <c:v>Pardubický kraj</c:v>
                </c:pt>
                <c:pt idx="11">
                  <c:v>Jihočeský kraj</c:v>
                </c:pt>
                <c:pt idx="12">
                  <c:v>Hlavní město Praha</c:v>
                </c:pt>
                <c:pt idx="13">
                  <c:v>Kraj Vysočina</c:v>
                </c:pt>
                <c:pt idx="14">
                  <c:v>Libere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8.7643375880000068E-3</c:v>
                </c:pt>
                <c:pt idx="1">
                  <c:v>1.9217729000000072E-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712-40DC-A691-E3FFCB2FBA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752350320"/>
        <c:axId val="742896224"/>
      </c:barChart>
      <c:catAx>
        <c:axId val="7523503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42896224"/>
        <c:crosses val="autoZero"/>
        <c:auto val="1"/>
        <c:lblAlgn val="ctr"/>
        <c:lblOffset val="100"/>
        <c:noMultiLvlLbl val="0"/>
      </c:catAx>
      <c:valAx>
        <c:axId val="742896224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52350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7_dni_100_000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44-47A1-8932-0F6118E2CB1A}"/>
              </c:ext>
            </c:extLst>
          </c:dPt>
          <c:dPt>
            <c:idx val="1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44-47A1-8932-0F6118E2CB1A}"/>
              </c:ext>
            </c:extLst>
          </c:dPt>
          <c:dPt>
            <c:idx val="2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944-47A1-8932-0F6118E2CB1A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Vsetín</c:v>
                </c:pt>
                <c:pt idx="1">
                  <c:v>Zlín</c:v>
                </c:pt>
                <c:pt idx="2">
                  <c:v>Prachatice</c:v>
                </c:pt>
                <c:pt idx="3">
                  <c:v>Teplice</c:v>
                </c:pt>
                <c:pt idx="4">
                  <c:v>České Budějovice</c:v>
                </c:pt>
                <c:pt idx="5">
                  <c:v>Blansko</c:v>
                </c:pt>
                <c:pt idx="6">
                  <c:v>Písek</c:v>
                </c:pt>
                <c:pt idx="7">
                  <c:v>Beroun</c:v>
                </c:pt>
                <c:pt idx="8">
                  <c:v>Tábor</c:v>
                </c:pt>
                <c:pt idx="9">
                  <c:v>Jihlava</c:v>
                </c:pt>
                <c:pt idx="10">
                  <c:v>Přerov</c:v>
                </c:pt>
                <c:pt idx="11">
                  <c:v>Děčín</c:v>
                </c:pt>
                <c:pt idx="12">
                  <c:v>Vyškov</c:v>
                </c:pt>
                <c:pt idx="13">
                  <c:v>Žďár nad Sázavou</c:v>
                </c:pt>
                <c:pt idx="14">
                  <c:v>Ostrava-město</c:v>
                </c:pt>
                <c:pt idx="15">
                  <c:v>Česká Lípa</c:v>
                </c:pt>
                <c:pt idx="16">
                  <c:v>Ústí nad Labem</c:v>
                </c:pt>
                <c:pt idx="17">
                  <c:v>Znojmo</c:v>
                </c:pt>
                <c:pt idx="18">
                  <c:v>Uherské Hradiště</c:v>
                </c:pt>
                <c:pt idx="19">
                  <c:v>Most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304.882302873009</c:v>
                </c:pt>
                <c:pt idx="1">
                  <c:v>296.89228393129201</c:v>
                </c:pt>
                <c:pt idx="2">
                  <c:v>288.35968456981402</c:v>
                </c:pt>
                <c:pt idx="3">
                  <c:v>246.374116772034</c:v>
                </c:pt>
                <c:pt idx="4">
                  <c:v>243.99830528373701</c:v>
                </c:pt>
                <c:pt idx="5">
                  <c:v>230.90455944876101</c:v>
                </c:pt>
                <c:pt idx="6">
                  <c:v>224.901169206699</c:v>
                </c:pt>
                <c:pt idx="7">
                  <c:v>223.021734099181</c:v>
                </c:pt>
                <c:pt idx="8">
                  <c:v>222.23305229299601</c:v>
                </c:pt>
                <c:pt idx="9">
                  <c:v>221.77632273735301</c:v>
                </c:pt>
                <c:pt idx="10">
                  <c:v>212.335536475384</c:v>
                </c:pt>
                <c:pt idx="11">
                  <c:v>212.28636272405799</c:v>
                </c:pt>
                <c:pt idx="12">
                  <c:v>211.313394018205</c:v>
                </c:pt>
                <c:pt idx="13">
                  <c:v>209.88845444235599</c:v>
                </c:pt>
                <c:pt idx="14">
                  <c:v>209.280169923003</c:v>
                </c:pt>
                <c:pt idx="15">
                  <c:v>209.099709583736</c:v>
                </c:pt>
                <c:pt idx="16">
                  <c:v>208.65105833850001</c:v>
                </c:pt>
                <c:pt idx="17">
                  <c:v>208.131105106208</c:v>
                </c:pt>
                <c:pt idx="18">
                  <c:v>203.19772756036099</c:v>
                </c:pt>
                <c:pt idx="19">
                  <c:v>201.4179825974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7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Vyškov</c:v>
                </c:pt>
                <c:pt idx="1">
                  <c:v>Znojmo</c:v>
                </c:pt>
                <c:pt idx="2">
                  <c:v>Tábor</c:v>
                </c:pt>
                <c:pt idx="3">
                  <c:v>Vsetín</c:v>
                </c:pt>
                <c:pt idx="4">
                  <c:v>Beroun</c:v>
                </c:pt>
                <c:pt idx="5">
                  <c:v>Zlín</c:v>
                </c:pt>
                <c:pt idx="6">
                  <c:v>Prachatice</c:v>
                </c:pt>
                <c:pt idx="7">
                  <c:v>České Budějovice</c:v>
                </c:pt>
                <c:pt idx="8">
                  <c:v>Přerov</c:v>
                </c:pt>
                <c:pt idx="9">
                  <c:v>Teplice</c:v>
                </c:pt>
                <c:pt idx="10">
                  <c:v>Ostrava-město</c:v>
                </c:pt>
                <c:pt idx="11">
                  <c:v>Česká Lípa</c:v>
                </c:pt>
                <c:pt idx="12">
                  <c:v>Ústí nad Labem</c:v>
                </c:pt>
                <c:pt idx="13">
                  <c:v>Písek</c:v>
                </c:pt>
                <c:pt idx="14">
                  <c:v>Uherské Hradiště</c:v>
                </c:pt>
                <c:pt idx="15">
                  <c:v>Blansko</c:v>
                </c:pt>
                <c:pt idx="16">
                  <c:v>Jihlava</c:v>
                </c:pt>
                <c:pt idx="17">
                  <c:v>Děčín</c:v>
                </c:pt>
                <c:pt idx="18">
                  <c:v>Most</c:v>
                </c:pt>
                <c:pt idx="19">
                  <c:v>Žďár nad Sázavou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7.5856090160380063</c:v>
                </c:pt>
                <c:pt idx="1">
                  <c:v>-9.6195048578499893</c:v>
                </c:pt>
                <c:pt idx="2">
                  <c:v>-12.671182806179985</c:v>
                </c:pt>
                <c:pt idx="3">
                  <c:v>-16.046436993317002</c:v>
                </c:pt>
                <c:pt idx="4">
                  <c:v>-17.883818300406006</c:v>
                </c:pt>
                <c:pt idx="5">
                  <c:v>-20.349383257152965</c:v>
                </c:pt>
                <c:pt idx="6">
                  <c:v>-21.577935580053975</c:v>
                </c:pt>
                <c:pt idx="7">
                  <c:v>-21.949638341423963</c:v>
                </c:pt>
                <c:pt idx="8">
                  <c:v>-34.745815059607992</c:v>
                </c:pt>
                <c:pt idx="9">
                  <c:v>-38.738068674847995</c:v>
                </c:pt>
                <c:pt idx="10">
                  <c:v>-39.044807821456004</c:v>
                </c:pt>
                <c:pt idx="11">
                  <c:v>-42.59438528557601</c:v>
                </c:pt>
                <c:pt idx="12">
                  <c:v>-55.305099800566978</c:v>
                </c:pt>
                <c:pt idx="13">
                  <c:v>-58.669870227834991</c:v>
                </c:pt>
                <c:pt idx="14">
                  <c:v>-68.201313402613039</c:v>
                </c:pt>
                <c:pt idx="15">
                  <c:v>-78.800762351560991</c:v>
                </c:pt>
                <c:pt idx="16">
                  <c:v>-79.205829549054982</c:v>
                </c:pt>
                <c:pt idx="17">
                  <c:v>-82.59869385990703</c:v>
                </c:pt>
                <c:pt idx="18">
                  <c:v>-83.252766140294</c:v>
                </c:pt>
                <c:pt idx="19">
                  <c:v>-116.792769004214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2A-4CFB-8526-F358736048E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Vyškov</c:v>
                </c:pt>
                <c:pt idx="1">
                  <c:v>Znojmo</c:v>
                </c:pt>
                <c:pt idx="2">
                  <c:v>Tábor</c:v>
                </c:pt>
                <c:pt idx="3">
                  <c:v>Vsetín</c:v>
                </c:pt>
                <c:pt idx="4">
                  <c:v>Beroun</c:v>
                </c:pt>
                <c:pt idx="5">
                  <c:v>Zlín</c:v>
                </c:pt>
                <c:pt idx="6">
                  <c:v>Prachatice</c:v>
                </c:pt>
                <c:pt idx="7">
                  <c:v>České Budějovice</c:v>
                </c:pt>
                <c:pt idx="8">
                  <c:v>Přerov</c:v>
                </c:pt>
                <c:pt idx="9">
                  <c:v>Teplice</c:v>
                </c:pt>
                <c:pt idx="10">
                  <c:v>Ostrava-město</c:v>
                </c:pt>
                <c:pt idx="11">
                  <c:v>Česká Lípa</c:v>
                </c:pt>
                <c:pt idx="12">
                  <c:v>Ústí nad Labem</c:v>
                </c:pt>
                <c:pt idx="13">
                  <c:v>Písek</c:v>
                </c:pt>
                <c:pt idx="14">
                  <c:v>Uherské Hradiště</c:v>
                </c:pt>
                <c:pt idx="15">
                  <c:v>Blansko</c:v>
                </c:pt>
                <c:pt idx="16">
                  <c:v>Jihlava</c:v>
                </c:pt>
                <c:pt idx="17">
                  <c:v>Děčín</c:v>
                </c:pt>
                <c:pt idx="18">
                  <c:v>Most</c:v>
                </c:pt>
                <c:pt idx="19">
                  <c:v>Žďár nad Sázavou</c:v>
                </c:pt>
              </c:strCache>
            </c:strRef>
          </c:cat>
          <c:val>
            <c:numRef>
              <c:f>Sheet1!$C$2:$C$21</c:f>
              <c:numCache>
                <c:formatCode>General</c:formatCode>
                <c:ptCount val="20"/>
                <c:pt idx="0">
                  <c:v>0</c:v>
                </c:pt>
                <c:pt idx="1">
                  <c:v>-9.6195048578499893</c:v>
                </c:pt>
                <c:pt idx="2">
                  <c:v>-12.671182806179985</c:v>
                </c:pt>
                <c:pt idx="3">
                  <c:v>-16.046436993317002</c:v>
                </c:pt>
                <c:pt idx="4">
                  <c:v>-17.883818300406006</c:v>
                </c:pt>
                <c:pt idx="5">
                  <c:v>-20.349383257152965</c:v>
                </c:pt>
                <c:pt idx="6">
                  <c:v>-21.577935580053975</c:v>
                </c:pt>
                <c:pt idx="7">
                  <c:v>-21.949638341423963</c:v>
                </c:pt>
                <c:pt idx="8">
                  <c:v>-34.745815059607992</c:v>
                </c:pt>
                <c:pt idx="9">
                  <c:v>-38.738068674847995</c:v>
                </c:pt>
                <c:pt idx="10">
                  <c:v>-39.044807821456004</c:v>
                </c:pt>
                <c:pt idx="11">
                  <c:v>-42.59438528557601</c:v>
                </c:pt>
                <c:pt idx="12">
                  <c:v>-55.305099800566978</c:v>
                </c:pt>
                <c:pt idx="13">
                  <c:v>-58.669870227834991</c:v>
                </c:pt>
                <c:pt idx="14">
                  <c:v>-68.201313402613039</c:v>
                </c:pt>
                <c:pt idx="15">
                  <c:v>-78.800762351560991</c:v>
                </c:pt>
                <c:pt idx="16">
                  <c:v>-79.205829549054982</c:v>
                </c:pt>
                <c:pt idx="17">
                  <c:v>-82.59869385990703</c:v>
                </c:pt>
                <c:pt idx="18">
                  <c:v>-83.252766140294</c:v>
                </c:pt>
                <c:pt idx="19">
                  <c:v>-116.792769004214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52A-4CFB-8526-F358736048E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Vyškov</c:v>
                </c:pt>
                <c:pt idx="1">
                  <c:v>Znojmo</c:v>
                </c:pt>
                <c:pt idx="2">
                  <c:v>Tábor</c:v>
                </c:pt>
                <c:pt idx="3">
                  <c:v>Vsetín</c:v>
                </c:pt>
                <c:pt idx="4">
                  <c:v>Beroun</c:v>
                </c:pt>
                <c:pt idx="5">
                  <c:v>Zlín</c:v>
                </c:pt>
                <c:pt idx="6">
                  <c:v>Prachatice</c:v>
                </c:pt>
                <c:pt idx="7">
                  <c:v>České Budějovice</c:v>
                </c:pt>
                <c:pt idx="8">
                  <c:v>Přerov</c:v>
                </c:pt>
                <c:pt idx="9">
                  <c:v>Teplice</c:v>
                </c:pt>
                <c:pt idx="10">
                  <c:v>Ostrava-město</c:v>
                </c:pt>
                <c:pt idx="11">
                  <c:v>Česká Lípa</c:v>
                </c:pt>
                <c:pt idx="12">
                  <c:v>Ústí nad Labem</c:v>
                </c:pt>
                <c:pt idx="13">
                  <c:v>Písek</c:v>
                </c:pt>
                <c:pt idx="14">
                  <c:v>Uherské Hradiště</c:v>
                </c:pt>
                <c:pt idx="15">
                  <c:v>Blansko</c:v>
                </c:pt>
                <c:pt idx="16">
                  <c:v>Jihlava</c:v>
                </c:pt>
                <c:pt idx="17">
                  <c:v>Děčín</c:v>
                </c:pt>
                <c:pt idx="18">
                  <c:v>Most</c:v>
                </c:pt>
                <c:pt idx="19">
                  <c:v>Žďár nad Sázavou</c:v>
                </c:pt>
              </c:strCache>
            </c:strRef>
          </c:cat>
          <c:val>
            <c:numRef>
              <c:f>Sheet1!$D$2:$D$21</c:f>
              <c:numCache>
                <c:formatCode>General</c:formatCode>
                <c:ptCount val="20"/>
                <c:pt idx="0">
                  <c:v>7.5856090160380063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52A-4CFB-8526-F358736048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752350320"/>
        <c:axId val="742896224"/>
      </c:barChart>
      <c:catAx>
        <c:axId val="7523503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42896224"/>
        <c:crosses val="autoZero"/>
        <c:auto val="1"/>
        <c:lblAlgn val="ctr"/>
        <c:lblOffset val="100"/>
        <c:noMultiLvlLbl val="0"/>
      </c:catAx>
      <c:valAx>
        <c:axId val="742896224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52350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53929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44448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40096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60100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3584CE-9EBC-AD46-8819-745BF0C92CFB}" type="slidenum">
              <a:rPr kumimoji="0" lang="en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37370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4.png"/><Relationship Id="rId4" Type="http://schemas.openxmlformats.org/officeDocument/2006/relationships/image" Target="../media/image4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6.svg"/><Relationship Id="rId5" Type="http://schemas.openxmlformats.org/officeDocument/2006/relationships/image" Target="../media/image4.png"/><Relationship Id="rId4" Type="http://schemas.openxmlformats.org/officeDocument/2006/relationships/image" Target="../media/image4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6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6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6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6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6.svg"/><Relationship Id="rId5" Type="http://schemas.openxmlformats.org/officeDocument/2006/relationships/image" Target="../media/image4.png"/><Relationship Id="rId4" Type="http://schemas.openxmlformats.org/officeDocument/2006/relationships/image" Target="../media/image4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6.svg"/><Relationship Id="rId5" Type="http://schemas.openxmlformats.org/officeDocument/2006/relationships/image" Target="../media/image4.png"/><Relationship Id="rId4" Type="http://schemas.openxmlformats.org/officeDocument/2006/relationships/image" Target="../media/image4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1.png"/><Relationship Id="rId5" Type="http://schemas.openxmlformats.org/officeDocument/2006/relationships/image" Target="../media/image6.svg"/><Relationship Id="rId4" Type="http://schemas.openxmlformats.org/officeDocument/2006/relationships/image" Target="../media/image6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1.png"/><Relationship Id="rId5" Type="http://schemas.openxmlformats.org/officeDocument/2006/relationships/image" Target="../media/image6.svg"/><Relationship Id="rId4" Type="http://schemas.openxmlformats.org/officeDocument/2006/relationships/image" Target="../media/image6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1.png"/><Relationship Id="rId5" Type="http://schemas.openxmlformats.org/officeDocument/2006/relationships/image" Target="../media/image6.svg"/><Relationship Id="rId4" Type="http://schemas.openxmlformats.org/officeDocument/2006/relationships/image" Target="../media/image6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1.png"/><Relationship Id="rId5" Type="http://schemas.openxmlformats.org/officeDocument/2006/relationships/image" Target="../media/image6.svg"/><Relationship Id="rId4" Type="http://schemas.openxmlformats.org/officeDocument/2006/relationships/image" Target="../media/image6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6.svg"/><Relationship Id="rId5" Type="http://schemas.openxmlformats.org/officeDocument/2006/relationships/image" Target="../media/image4.png"/><Relationship Id="rId4" Type="http://schemas.openxmlformats.org/officeDocument/2006/relationships/image" Target="../media/image4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.emf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4.png"/><Relationship Id="rId4" Type="http://schemas.openxmlformats.org/officeDocument/2006/relationships/image" Target="../media/image4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7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5381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9072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62725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4262481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124903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51909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92388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391055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12582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15191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36112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7903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189405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041965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539312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96725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044533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2271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6813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187845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334566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1948659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633378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752291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942907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85297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607353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53627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304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155146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13315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5370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32192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48042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661392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134107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73667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0277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724693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6982569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10759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79067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393587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43349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757571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11596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53893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5209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3461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11972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8392837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494655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42654721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9" name="Skupina 8">
            <a:extLst>
              <a:ext uri="{FF2B5EF4-FFF2-40B4-BE49-F238E27FC236}">
                <a16:creationId xmlns:a16="http://schemas.microsoft.com/office/drawing/2014/main" id="{EDDAB015-EBF0-4938-889E-56AD1CB499F3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5686FF4F-BD31-4284-A6F4-E2F29A74A3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402B9ECF-11DA-4FAD-9387-9E56728971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539833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99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55245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24433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50090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6257120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65560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6250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16179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980607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130737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9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7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image" Target="../media/image6.svg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image" Target="../media/image8.png"/><Relationship Id="rId5" Type="http://schemas.openxmlformats.org/officeDocument/2006/relationships/slideLayout" Target="../slideLayouts/slideLayout46.xml"/><Relationship Id="rId15" Type="http://schemas.openxmlformats.org/officeDocument/2006/relationships/image" Target="../media/image4.svg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image" Target="../media/image10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5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8512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6856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91825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428498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017586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346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461433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53754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chart" Target="../charts/chart7.xml"/><Relationship Id="rId2" Type="http://schemas.openxmlformats.org/officeDocument/2006/relationships/tags" Target="../tags/tag27.xml"/><Relationship Id="rId16" Type="http://schemas.openxmlformats.org/officeDocument/2006/relationships/chart" Target="../charts/chart6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5" Type="http://schemas.openxmlformats.org/officeDocument/2006/relationships/tags" Target="../tags/tag30.xml"/><Relationship Id="rId15" Type="http://schemas.openxmlformats.org/officeDocument/2006/relationships/chart" Target="../charts/chart5.xml"/><Relationship Id="rId10" Type="http://schemas.openxmlformats.org/officeDocument/2006/relationships/tags" Target="../tags/tag35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slideLayout" Target="../slideLayouts/slideLayout5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tags" Target="../tags/tag41.xml"/><Relationship Id="rId7" Type="http://schemas.openxmlformats.org/officeDocument/2006/relationships/chart" Target="../charts/chart8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slideLayout" Target="../slideLayouts/slideLayout59.xml"/><Relationship Id="rId5" Type="http://schemas.openxmlformats.org/officeDocument/2006/relationships/tags" Target="../tags/tag43.xml"/><Relationship Id="rId4" Type="http://schemas.openxmlformats.org/officeDocument/2006/relationships/tags" Target="../tags/tag4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chart" Target="../charts/chart12.xml"/><Relationship Id="rId5" Type="http://schemas.openxmlformats.org/officeDocument/2006/relationships/tags" Target="../tags/tag48.xml"/><Relationship Id="rId10" Type="http://schemas.openxmlformats.org/officeDocument/2006/relationships/chart" Target="../charts/chart11.xml"/><Relationship Id="rId4" Type="http://schemas.openxmlformats.org/officeDocument/2006/relationships/tags" Target="../tags/tag47.xml"/><Relationship Id="rId9" Type="http://schemas.openxmlformats.org/officeDocument/2006/relationships/chart" Target="../charts/chart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image" Target="../media/image17.png"/><Relationship Id="rId5" Type="http://schemas.openxmlformats.org/officeDocument/2006/relationships/tags" Target="../tags/tag55.xml"/><Relationship Id="rId10" Type="http://schemas.openxmlformats.org/officeDocument/2006/relationships/slideLayout" Target="../slideLayouts/slideLayout59.xml"/><Relationship Id="rId4" Type="http://schemas.openxmlformats.org/officeDocument/2006/relationships/tags" Target="../tags/tag54.xml"/><Relationship Id="rId9" Type="http://schemas.openxmlformats.org/officeDocument/2006/relationships/tags" Target="../tags/tag5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image" Target="../media/image16.png"/><Relationship Id="rId2" Type="http://schemas.openxmlformats.org/officeDocument/2006/relationships/tags" Target="../tags/tag4.xml"/><Relationship Id="rId16" Type="http://schemas.openxmlformats.org/officeDocument/2006/relationships/image" Target="../media/image15.pn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image" Target="../media/image14.png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chart" Target="../charts/chart16.xml"/><Relationship Id="rId5" Type="http://schemas.openxmlformats.org/officeDocument/2006/relationships/tags" Target="../tags/tag68.xml"/><Relationship Id="rId10" Type="http://schemas.openxmlformats.org/officeDocument/2006/relationships/notesSlide" Target="../notesSlides/notesSlide3.xml"/><Relationship Id="rId4" Type="http://schemas.openxmlformats.org/officeDocument/2006/relationships/tags" Target="../tags/tag67.xml"/><Relationship Id="rId9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chart" Target="../charts/chart17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75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5" Type="http://schemas.openxmlformats.org/officeDocument/2006/relationships/tags" Target="../tags/tag80.xml"/><Relationship Id="rId10" Type="http://schemas.openxmlformats.org/officeDocument/2006/relationships/chart" Target="../charts/chart18.xml"/><Relationship Id="rId4" Type="http://schemas.openxmlformats.org/officeDocument/2006/relationships/tags" Target="../tags/tag79.xml"/><Relationship Id="rId9" Type="http://schemas.openxmlformats.org/officeDocument/2006/relationships/notesSlide" Target="../notesSlides/notesSlide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chart" Target="../charts/chart19.xml"/><Relationship Id="rId4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18.xml"/><Relationship Id="rId7" Type="http://schemas.openxmlformats.org/officeDocument/2006/relationships/slideLayout" Target="../slideLayouts/slideLayout3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chart" Target="../charts/chart20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slideLayout" Target="../slideLayouts/slideLayout10.xml"/><Relationship Id="rId5" Type="http://schemas.openxmlformats.org/officeDocument/2006/relationships/tags" Target="../tags/tag90.xml"/><Relationship Id="rId4" Type="http://schemas.openxmlformats.org/officeDocument/2006/relationships/tags" Target="../tags/tag89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6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6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24.xml"/><Relationship Id="rId4" Type="http://schemas.openxmlformats.org/officeDocument/2006/relationships/chart" Target="../charts/char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Stav epidemie k </a:t>
            </a:r>
            <a:r>
              <a:rPr lang="cs-CZ" sz="4800" b="1" dirty="0" smtClean="0"/>
              <a:t>27. </a:t>
            </a:r>
            <a:r>
              <a:rPr lang="cs-CZ" sz="4800" b="1" dirty="0"/>
              <a:t>4. 2021</a:t>
            </a:r>
          </a:p>
          <a:p>
            <a:r>
              <a:rPr lang="cs-CZ" sz="4800" b="1" dirty="0"/>
              <a:t>– stručný přehled aktuálních dat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1108461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1939900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Relativní pozitivita testů s diagnostickou/epidemiologickou indikací za 7 dní: </a:t>
            </a:r>
            <a:br>
              <a:rPr lang="pl-PL" sz="2000" dirty="0">
                <a:latin typeface="+mn-lt"/>
              </a:rPr>
            </a:br>
            <a:r>
              <a:rPr lang="pl-PL" sz="2000" dirty="0">
                <a:latin typeface="+mn-lt"/>
              </a:rPr>
              <a:t>srovnání krajů k 2</a:t>
            </a:r>
            <a:r>
              <a:rPr lang="en-US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4.</a:t>
            </a:r>
            <a:endParaRPr lang="cs-CZ" sz="2000" dirty="0">
              <a:latin typeface="+mn-lt"/>
            </a:endParaRPr>
          </a:p>
        </p:txBody>
      </p:sp>
      <p:sp>
        <p:nvSpPr>
          <p:cNvPr id="31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240277" y="967565"/>
            <a:ext cx="26981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ference za posledních 7 dní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6D1E585-3993-416C-AF95-42C197FE79D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585454" y="942702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172D653-29BB-46C3-83F2-8221BA928DD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754190" y="878813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C80593F-C2D7-48EC-9C6F-8A8D60EF292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817355" y="936559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8D4B11B-8579-446E-91AF-8288C6B4363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948912" y="872670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DAB7E79-4343-403B-91F5-3309618E2A1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973116" y="930031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A0394B2-B166-4AEA-96C1-E480F847DCBD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7123723" y="86614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7DA604F-A1A3-44C2-A908-EC9EB9AC534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919" y="4798662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646996519"/>
              </p:ext>
            </p:extLst>
          </p:nvPr>
        </p:nvGraphicFramePr>
        <p:xfrm>
          <a:off x="4614696" y="14056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8B0B522C-5BE7-400C-9C38-FFD78A223EB9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2918148"/>
              </p:ext>
            </p:extLst>
          </p:nvPr>
        </p:nvGraphicFramePr>
        <p:xfrm>
          <a:off x="224224" y="14056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CD581858-A9DA-4377-A0CA-769C77123C38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689655504"/>
              </p:ext>
            </p:extLst>
          </p:nvPr>
        </p:nvGraphicFramePr>
        <p:xfrm>
          <a:off x="8186468" y="1449822"/>
          <a:ext cx="3904384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38" name="TextovéPole 6">
            <a:extLst>
              <a:ext uri="{FF2B5EF4-FFF2-40B4-BE49-F238E27FC236}">
                <a16:creationId xmlns:a16="http://schemas.microsoft.com/office/drawing/2014/main" id="{3E927BF5-755E-4BCE-A28E-EF48DE769CA9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9392677" y="1119965"/>
            <a:ext cx="26981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ference za posledních 7 dní</a:t>
            </a:r>
          </a:p>
        </p:txBody>
      </p:sp>
    </p:spTree>
    <p:extLst>
      <p:ext uri="{BB962C8B-B14F-4D97-AF65-F5344CB8AC3E}">
        <p14:creationId xmlns:p14="http://schemas.microsoft.com/office/powerpoint/2010/main" val="2977942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Nové případy za 7 dní na 100 000 obyvatel: 20 okresů s nejvyššími hodnotami k 2</a:t>
            </a:r>
            <a:r>
              <a:rPr lang="en-US" sz="2000" dirty="0"/>
              <a:t>6</a:t>
            </a:r>
            <a:r>
              <a:rPr lang="pl-PL" sz="2000" dirty="0"/>
              <a:t>.4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4289398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1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12089" y="1005347"/>
            <a:ext cx="26981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ference za posledních 7 dní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1E87494-144D-41F5-A285-4B3722EAA69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06607119"/>
              </p:ext>
            </p:extLst>
          </p:nvPr>
        </p:nvGraphicFramePr>
        <p:xfrm>
          <a:off x="4554069" y="1372986"/>
          <a:ext cx="379318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348849" y="945486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</p:spTree>
    <p:extLst>
      <p:ext uri="{BB962C8B-B14F-4D97-AF65-F5344CB8AC3E}">
        <p14:creationId xmlns:p14="http://schemas.microsoft.com/office/powerpoint/2010/main" val="39010430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Další ukazatele pro 20 okresů s nejvyšším 7denním počtem případů – hodnoty k 2</a:t>
            </a:r>
            <a:r>
              <a:rPr lang="en-US" sz="2000" dirty="0"/>
              <a:t>6</a:t>
            </a:r>
            <a:r>
              <a:rPr lang="pl-PL" sz="2000" dirty="0"/>
              <a:t>.4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426191"/>
              </p:ext>
            </p:extLst>
          </p:nvPr>
        </p:nvGraphicFramePr>
        <p:xfrm>
          <a:off x="-32951" y="13294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72374" y="901814"/>
            <a:ext cx="37748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cs-CZ" sz="1400" b="1" dirty="0">
                <a:solidFill>
                  <a:srgbClr val="000000"/>
                </a:solidFill>
              </a:rPr>
              <a:t>R (zjednodušený výpočet) - 7 denní úseky.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98A62067-53FF-4C09-BEE0-82A7C952932A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03293648"/>
              </p:ext>
            </p:extLst>
          </p:nvPr>
        </p:nvGraphicFramePr>
        <p:xfrm>
          <a:off x="4013610" y="13294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3" name="TextovéPole 6">
            <a:extLst>
              <a:ext uri="{FF2B5EF4-FFF2-40B4-BE49-F238E27FC236}">
                <a16:creationId xmlns:a16="http://schemas.microsoft.com/office/drawing/2014/main" id="{0D208FF1-DE9A-4FD0-8B00-E58C94A5183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478165" y="724709"/>
            <a:ext cx="377488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>
                <a:solidFill>
                  <a:srgbClr val="000000"/>
                </a:solidFill>
              </a:rPr>
              <a:t>Relativní pozitivita testů s diagnostickou/epidemiologickou indikací za 7 dní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ovéPole 6">
            <a:extLst>
              <a:ext uri="{FF2B5EF4-FFF2-40B4-BE49-F238E27FC236}">
                <a16:creationId xmlns:a16="http://schemas.microsoft.com/office/drawing/2014/main" id="{7C59784F-D1AD-43B0-A98F-6DD8AF6B4D6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493817" y="724709"/>
            <a:ext cx="36263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>
                <a:solidFill>
                  <a:srgbClr val="000000"/>
                </a:solidFill>
              </a:rPr>
              <a:t>7 denní změna v relativní pozitivitě testů s diagnostickou/epidemiologickou indikací za 7 dní 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BAF05243-6294-4C14-8D9A-9794B29753B9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36811063"/>
              </p:ext>
            </p:extLst>
          </p:nvPr>
        </p:nvGraphicFramePr>
        <p:xfrm>
          <a:off x="8173569" y="1439332"/>
          <a:ext cx="379318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8038882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Map&#10;&#10;Description automatically generated">
            <a:extLst>
              <a:ext uri="{FF2B5EF4-FFF2-40B4-BE49-F238E27FC236}">
                <a16:creationId xmlns:a16="http://schemas.microsoft.com/office/drawing/2014/main" id="{4C8C42B4-7A9D-4289-8B09-D0E4B9333CA9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30" r="21202"/>
          <a:stretch/>
        </p:blipFill>
        <p:spPr>
          <a:xfrm>
            <a:off x="341925" y="816426"/>
            <a:ext cx="7321099" cy="4680000"/>
          </a:xfrm>
          <a:prstGeom prst="rect">
            <a:avLst/>
          </a:prstGeom>
        </p:spPr>
      </p:pic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Přehled okresů s poteniálně rizikovými epidemickými hodnotami</a:t>
            </a:r>
            <a:endParaRPr lang="cs-CZ" sz="2000" dirty="0"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A9CE990-B476-48D3-9B51-BD51368C6C0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1925" y="5726481"/>
            <a:ext cx="180000" cy="180000"/>
          </a:xfrm>
          <a:prstGeom prst="rect">
            <a:avLst/>
          </a:prstGeom>
          <a:solidFill>
            <a:srgbClr val="D0CC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4424877-C36B-476A-80A2-75A84432AC9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61925" y="6098636"/>
            <a:ext cx="180000" cy="180000"/>
          </a:xfrm>
          <a:prstGeom prst="rect">
            <a:avLst/>
          </a:prstGeom>
          <a:solidFill>
            <a:srgbClr val="59535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AC83000-BE90-410D-BCEB-3BEC6AE0555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61925" y="6498779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EB73E81-14CA-4808-AA44-F71F2F14BCB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7650" y="5631815"/>
            <a:ext cx="9249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Okresy spadající s vysokými 7denními novými počty pozitivních a R</a:t>
            </a:r>
            <a:r>
              <a:rPr lang="en-US" dirty="0"/>
              <a:t>&lt;0.95</a:t>
            </a:r>
            <a:endParaRPr lang="cs-CZ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9557CE4-9D86-46E6-B551-9FD22B69FA0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27650" y="603079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≥0.95, ale </a:t>
            </a:r>
            <a:r>
              <a:rPr lang="en-US" dirty="0" err="1"/>
              <a:t>nespad</a:t>
            </a:r>
            <a:r>
              <a:rPr lang="cs-CZ" dirty="0"/>
              <a:t>á</a:t>
            </a:r>
            <a:r>
              <a:rPr lang="en-US" dirty="0"/>
              <a:t> </a:t>
            </a:r>
            <a:r>
              <a:rPr lang="en-US" dirty="0" err="1"/>
              <a:t>mezi</a:t>
            </a:r>
            <a:r>
              <a:rPr lang="cs-CZ" dirty="0"/>
              <a:t> 20 okresů s nejvyššími 7denními novými počty pozitivních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20F612-C5CB-4791-BE1D-DD2B112E2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27650" y="640012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R≥0.95</a:t>
            </a:r>
            <a:r>
              <a:rPr lang="cs-CZ" b="1" dirty="0">
                <a:solidFill>
                  <a:srgbClr val="FF0000"/>
                </a:solidFill>
              </a:rPr>
              <a:t> a </a:t>
            </a:r>
            <a:r>
              <a:rPr lang="en-US" b="1" dirty="0" err="1">
                <a:solidFill>
                  <a:srgbClr val="FF0000"/>
                </a:solidFill>
              </a:rPr>
              <a:t>spad</a:t>
            </a:r>
            <a:r>
              <a:rPr lang="cs-CZ" b="1" dirty="0">
                <a:solidFill>
                  <a:srgbClr val="FF0000"/>
                </a:solidFill>
              </a:rPr>
              <a:t>á</a:t>
            </a:r>
            <a:r>
              <a:rPr lang="en-US" b="1" dirty="0">
                <a:solidFill>
                  <a:srgbClr val="FF0000"/>
                </a:solidFill>
              </a:rPr>
              <a:t> </a:t>
            </a:r>
            <a:r>
              <a:rPr lang="en-US" b="1" dirty="0" err="1">
                <a:solidFill>
                  <a:srgbClr val="FF0000"/>
                </a:solidFill>
              </a:rPr>
              <a:t>mezi</a:t>
            </a:r>
            <a:r>
              <a:rPr lang="cs-CZ" b="1" dirty="0">
                <a:solidFill>
                  <a:srgbClr val="FF0000"/>
                </a:solidFill>
              </a:rPr>
              <a:t> 20 okresů s nejvyššími 7denními novými počty pozitivních 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C43C3E8-C5A1-4534-9DCC-3A966C17E21F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878570453"/>
              </p:ext>
            </p:extLst>
          </p:nvPr>
        </p:nvGraphicFramePr>
        <p:xfrm>
          <a:off x="9528827" y="747706"/>
          <a:ext cx="1910022" cy="6092531"/>
        </p:xfrm>
        <a:graphic>
          <a:graphicData uri="http://schemas.openxmlformats.org/drawingml/2006/table">
            <a:tbl>
              <a:tblPr/>
              <a:tblGrid>
                <a:gridCol w="1910022">
                  <a:extLst>
                    <a:ext uri="{9D8B030D-6E8A-4147-A177-3AD203B41FA5}">
                      <a16:colId xmlns:a16="http://schemas.microsoft.com/office/drawing/2014/main" val="2025806962"/>
                    </a:ext>
                  </a:extLst>
                </a:gridCol>
              </a:tblGrid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setín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0602827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ísek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8937619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ansko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281902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hatice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627683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lava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0800842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ďár nad Sázavou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67573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rava-město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209254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á Lípa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5444811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čín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765409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í nad Labem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6919642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st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409603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herské Hradiště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952731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rutnov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3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86122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ychnov nad Kněžnou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3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4657457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říbram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3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4916323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Jeseník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3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3723995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lzeň-jih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3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4436331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achov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3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254580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řeclav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3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127035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lzeň-sever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3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7664073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ymburk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3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3469898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odonín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3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1857957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enešov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3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487794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roměříž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3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9526277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arviná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3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88980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Šumperk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3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1674285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lzeň-město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3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2683466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runtál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3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1703688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aha-západ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3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3096140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eroun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1854157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yškov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8522179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České Budějovice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9572064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Znojmo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382046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ábor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671658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Zlín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1726476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řerov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489138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eplice</a:t>
                      </a:r>
                    </a:p>
                  </a:txBody>
                  <a:tcPr marL="4643" marR="4643" marT="46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10631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68719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/>
              <a:t>Populační prediktivní modely ukazují </a:t>
            </a:r>
          </a:p>
          <a:p>
            <a:r>
              <a:rPr lang="cs-CZ" sz="5000" b="1" dirty="0"/>
              <a:t>rychlé brždění epidemie</a:t>
            </a:r>
          </a:p>
        </p:txBody>
      </p:sp>
    </p:spTree>
    <p:extLst>
      <p:ext uri="{BB962C8B-B14F-4D97-AF65-F5344CB8AC3E}">
        <p14:creationId xmlns:p14="http://schemas.microsoft.com/office/powerpoint/2010/main" val="28416413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3829733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>
                <a:latin typeface="+mj-lt"/>
              </a:rPr>
              <a:t>Predikce ve čtyřech scénářích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, R = 1,10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ntenzivního zpomalení (R = 0,75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276507" y="2177655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619306" y="2842802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096689" y="2895478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334433" y="2839996"/>
            <a:ext cx="38612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álná data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4. 2021)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324561" y="2997837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619306" y="306802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324561" y="3221144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095375A6-BA75-44A5-A84A-36A5A097F6F7}"/>
              </a:ext>
            </a:extLst>
          </p:cNvPr>
          <p:cNvSpPr txBox="1"/>
          <p:nvPr/>
        </p:nvSpPr>
        <p:spPr>
          <a:xfrm>
            <a:off x="1619306" y="3293242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85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B76497E-F494-41CE-B6CE-8CEE02B36A8F}"/>
              </a:ext>
            </a:extLst>
          </p:cNvPr>
          <p:cNvCxnSpPr>
            <a:cxnSpLocks/>
          </p:cNvCxnSpPr>
          <p:nvPr/>
        </p:nvCxnSpPr>
        <p:spPr>
          <a:xfrm>
            <a:off x="1324561" y="3444451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324561" y="3667757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611449" y="3518461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1. 4. 2021)</a:t>
            </a: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018C3454-3ACD-4639-ABC1-54A9227CB2EF}"/>
              </a:ext>
            </a:extLst>
          </p:cNvPr>
          <p:cNvSpPr txBox="1"/>
          <p:nvPr/>
        </p:nvSpPr>
        <p:spPr>
          <a:xfrm>
            <a:off x="4752136" y="1239520"/>
            <a:ext cx="53982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edpokládaný d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d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at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ření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 1. 3.; krátkodobé modely kalibrovány ke dni 4. 4. 2021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67681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A8F32B7D-2094-4232-AD78-BE19DD7B9AE6}"/>
              </a:ext>
            </a:extLst>
          </p:cNvPr>
          <p:cNvSpPr txBox="1"/>
          <p:nvPr/>
        </p:nvSpPr>
        <p:spPr>
          <a:xfrm>
            <a:off x="-200165" y="716292"/>
            <a:ext cx="123139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cké křivky vytvořeny pomocí modelu pro krátkodobé predikce ÚZIS ČR,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</a:t>
            </a:r>
            <a:r>
              <a:rPr kumimoji="0" lang="cs-CZ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dá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údajům z 1. 4. 2021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aměřené hodnoty jsou aktuální </a:t>
            </a:r>
            <a:r>
              <a:rPr kumimoji="0" lang="pl-PL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uzavřenému dni 26. 4. 202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endParaRPr kumimoji="0" lang="cs-CZ" sz="17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000" y="2574"/>
            <a:ext cx="6776706" cy="576000"/>
          </a:xfrm>
        </p:spPr>
        <p:txBody>
          <a:bodyPr/>
          <a:lstStyle/>
          <a:p>
            <a:r>
              <a:rPr lang="cs-CZ" dirty="0" err="1"/>
              <a:t>Rekalibrace</a:t>
            </a:r>
            <a:r>
              <a:rPr lang="cs-CZ" dirty="0"/>
              <a:t> prediktivního modelu pro </a:t>
            </a:r>
            <a:r>
              <a:rPr lang="cs-CZ" u="sng" dirty="0"/>
              <a:t>nové scénáře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/>
        </p:nvGraphicFramePr>
        <p:xfrm>
          <a:off x="89775" y="1696577"/>
          <a:ext cx="12024000" cy="3894952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69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pPr algn="l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/>
                        <a:t>Predikovaný celkový počet</a:t>
                      </a:r>
                      <a:r>
                        <a:rPr lang="cs-CZ" sz="1600" u="none" dirty="0"/>
                        <a:t> </a:t>
                      </a:r>
                      <a:br>
                        <a:rPr lang="cs-CZ" sz="1600" u="none" dirty="0"/>
                      </a:br>
                      <a:r>
                        <a:rPr lang="cs-CZ" sz="1600" u="none" dirty="0"/>
                        <a:t>N</a:t>
                      </a:r>
                      <a:r>
                        <a:rPr lang="cs-CZ" sz="1600" dirty="0"/>
                        <a:t>ově prokázané nákazy COVID-19</a:t>
                      </a:r>
                      <a:endParaRPr lang="cs-CZ" sz="16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/>
                        <a:t>Predikovaný průměrný denní počet</a:t>
                      </a:r>
                      <a:r>
                        <a:rPr lang="cs-CZ" sz="1600" dirty="0"/>
                        <a:t> Nově prokázané nákazy COVID-19</a:t>
                      </a:r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Realita: naměřené</a:t>
                      </a:r>
                    </a:p>
                    <a:p>
                      <a:pPr algn="ctr"/>
                      <a:r>
                        <a:rPr lang="cs-CZ" sz="1600" b="1" dirty="0"/>
                        <a:t>hodnoty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24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3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5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5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cs-CZ" sz="1450" b="1" u="none" strike="noStrike" dirty="0">
                          <a:effectLst/>
                        </a:rPr>
                        <a:t>.–11. 4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34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3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7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2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31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0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2.–18. 4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49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4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9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2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79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7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2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  <a:r>
                        <a:rPr lang="cs-CZ" sz="1450" b="1" u="none" strike="noStrike" dirty="0">
                          <a:effectLst/>
                        </a:rPr>
                        <a:t>.–25. 4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45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17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4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76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9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6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466947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.</a:t>
                      </a:r>
                      <a:r>
                        <a:rPr lang="cs-CZ" sz="1450" b="1" u="none" strike="noStrike" dirty="0">
                          <a:effectLst/>
                        </a:rPr>
                        <a:t>–30. 4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4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tisíc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tisíc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92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37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07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228000" y="6279426"/>
            <a:ext cx="117347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počty odpovídají modelovaným hodnotám (kalibrovaným na hodnoty pozorované v pracovních dnech), naměřené hodnoty zahrnují všechny počty hlášené do databáze, včetně zřetelně nižších záchytů nemoci v nepracovních dnech. V případě denního průměrného počtu jsou uvedeny i hodnoty, které zahrnují pouze pracovní dny.</a:t>
            </a:r>
          </a:p>
        </p:txBody>
      </p:sp>
      <p:sp>
        <p:nvSpPr>
          <p:cNvPr id="7" name="Šipka dolů 6"/>
          <p:cNvSpPr/>
          <p:nvPr/>
        </p:nvSpPr>
        <p:spPr>
          <a:xfrm>
            <a:off x="3814619" y="1408547"/>
            <a:ext cx="905163" cy="36021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8502073" y="1429719"/>
            <a:ext cx="905163" cy="36021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Šipka dolů 2"/>
          <p:cNvSpPr/>
          <p:nvPr/>
        </p:nvSpPr>
        <p:spPr>
          <a:xfrm>
            <a:off x="6823554" y="4442604"/>
            <a:ext cx="345000" cy="163902"/>
          </a:xfrm>
          <a:prstGeom prst="downArrow">
            <a:avLst/>
          </a:prstGeom>
          <a:solidFill>
            <a:srgbClr val="00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Šipka dolů 11"/>
          <p:cNvSpPr/>
          <p:nvPr/>
        </p:nvSpPr>
        <p:spPr>
          <a:xfrm>
            <a:off x="10417894" y="4442604"/>
            <a:ext cx="345000" cy="163902"/>
          </a:xfrm>
          <a:prstGeom prst="downArrow">
            <a:avLst/>
          </a:prstGeom>
          <a:solidFill>
            <a:srgbClr val="00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102695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9DF109AD-77D5-469B-813E-C9E4AA07BC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6480" y="1527067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ch opatření modelovaný od 19.2.2021, </a:t>
            </a:r>
            <a:r>
              <a:rPr kumimoji="0" lang="cs-CZ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kalibrace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5.3. 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konce února</a:t>
            </a:r>
            <a:endParaRPr kumimoji="0" lang="cs-CZ" sz="1600" b="1" i="0" u="sng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6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70657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5F92B5CA-D573-427A-9431-C80883277A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1409" y="1527067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ch opatření modelovaný od 19.2.2021, </a:t>
            </a:r>
            <a:r>
              <a:rPr kumimoji="0" lang="cs-CZ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kalibrace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5.3. 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konce února</a:t>
            </a:r>
            <a:endParaRPr kumimoji="0" lang="cs-CZ" sz="1600" b="1" i="0" u="sng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6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93870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51570"/>
            <a:ext cx="9229366" cy="707886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héma stavového modelu SEIR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ro dlouhodobé simulac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 </a:t>
            </a:r>
            <a:r>
              <a:rPr kumimoji="0" lang="en-US" sz="20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padem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</a:t>
            </a:r>
            <a:r>
              <a:rPr kumimoji="0" lang="cs-CZ" sz="20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2B04E69E-696B-426D-92D2-95AD65B197D7}"/>
              </a:ext>
            </a:extLst>
          </p:cNvPr>
          <p:cNvSpPr/>
          <p:nvPr/>
        </p:nvSpPr>
        <p:spPr>
          <a:xfrm>
            <a:off x="1082695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chylní jedinci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D063A768-01D3-4A56-8BBA-28DED35E1CE0}"/>
              </a:ext>
            </a:extLst>
          </p:cNvPr>
          <p:cNvSpPr/>
          <p:nvPr/>
        </p:nvSpPr>
        <p:spPr>
          <a:xfrm>
            <a:off x="3824400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onovaní jedinci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BADCA929-8F51-4A46-84F0-4EE1E7912B1C}"/>
              </a:ext>
            </a:extLst>
          </p:cNvPr>
          <p:cNvSpPr/>
          <p:nvPr/>
        </p:nvSpPr>
        <p:spPr>
          <a:xfrm>
            <a:off x="6566105" y="1689064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znaky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6AD42F47-49DC-4AF9-9274-1EA0FEA16506}"/>
              </a:ext>
            </a:extLst>
          </p:cNvPr>
          <p:cNvSpPr/>
          <p:nvPr/>
        </p:nvSpPr>
        <p:spPr>
          <a:xfrm>
            <a:off x="9439289" y="2701427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zolovaní jedinci</a:t>
            </a:r>
          </a:p>
        </p:txBody>
      </p:sp>
      <p:sp>
        <p:nvSpPr>
          <p:cNvPr id="22" name="Šipka: doprava 44">
            <a:extLst>
              <a:ext uri="{FF2B5EF4-FFF2-40B4-BE49-F238E27FC236}">
                <a16:creationId xmlns:a16="http://schemas.microsoft.com/office/drawing/2014/main" id="{4C13D826-2505-4EE1-82AE-F4AB7726E1B5}"/>
              </a:ext>
            </a:extLst>
          </p:cNvPr>
          <p:cNvSpPr/>
          <p:nvPr/>
        </p:nvSpPr>
        <p:spPr>
          <a:xfrm>
            <a:off x="3134865" y="3033120"/>
            <a:ext cx="54684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B14B0F29-42EE-4449-8FA0-2FFCC0E7A5D6}"/>
              </a:ext>
            </a:extLst>
          </p:cNvPr>
          <p:cNvSpPr/>
          <p:nvPr/>
        </p:nvSpPr>
        <p:spPr>
          <a:xfrm>
            <a:off x="6566105" y="3736200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příznakoví</a:t>
            </a:r>
          </a:p>
        </p:txBody>
      </p:sp>
      <p:sp>
        <p:nvSpPr>
          <p:cNvPr id="26" name="Šipka: doprava 46">
            <a:extLst>
              <a:ext uri="{FF2B5EF4-FFF2-40B4-BE49-F238E27FC236}">
                <a16:creationId xmlns:a16="http://schemas.microsoft.com/office/drawing/2014/main" id="{D213C4CF-884A-47FE-9932-16FB105C4037}"/>
              </a:ext>
            </a:extLst>
          </p:cNvPr>
          <p:cNvSpPr/>
          <p:nvPr/>
        </p:nvSpPr>
        <p:spPr>
          <a:xfrm>
            <a:off x="5827330" y="2015627"/>
            <a:ext cx="738776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Šipka: doprava 47">
            <a:extLst>
              <a:ext uri="{FF2B5EF4-FFF2-40B4-BE49-F238E27FC236}">
                <a16:creationId xmlns:a16="http://schemas.microsoft.com/office/drawing/2014/main" id="{608B85F7-5E22-4599-8F4E-6A61635A808E}"/>
              </a:ext>
            </a:extLst>
          </p:cNvPr>
          <p:cNvSpPr/>
          <p:nvPr/>
        </p:nvSpPr>
        <p:spPr>
          <a:xfrm>
            <a:off x="5827328" y="4055094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A1F9FDF5-109A-473A-86F7-AE70B59EEBF0}"/>
              </a:ext>
            </a:extLst>
          </p:cNvPr>
          <p:cNvSpPr/>
          <p:nvPr/>
        </p:nvSpPr>
        <p:spPr>
          <a:xfrm>
            <a:off x="5827329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Šipka: doprava 49">
            <a:extLst>
              <a:ext uri="{FF2B5EF4-FFF2-40B4-BE49-F238E27FC236}">
                <a16:creationId xmlns:a16="http://schemas.microsoft.com/office/drawing/2014/main" id="{10587047-838E-48F4-9F92-8CBF3AB25FF0}"/>
              </a:ext>
            </a:extLst>
          </p:cNvPr>
          <p:cNvSpPr/>
          <p:nvPr/>
        </p:nvSpPr>
        <p:spPr>
          <a:xfrm>
            <a:off x="8610864" y="2990538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054974A4-DA60-4490-9AAD-3973AAACF2C2}"/>
              </a:ext>
            </a:extLst>
          </p:cNvPr>
          <p:cNvSpPr/>
          <p:nvPr/>
        </p:nvSpPr>
        <p:spPr>
          <a:xfrm>
            <a:off x="8610865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FE7E001D-0B75-40E0-AAE6-7132D90F7EA2}"/>
              </a:ext>
            </a:extLst>
          </p:cNvPr>
          <p:cNvSpPr txBox="1"/>
          <p:nvPr/>
        </p:nvSpPr>
        <p:spPr>
          <a:xfrm>
            <a:off x="729454" y="1430123"/>
            <a:ext cx="29351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ost onemocnění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tnost kontaktů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infekčních jedinců 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9F44768C-5FDA-4214-A558-285F9A9BD9CE}"/>
              </a:ext>
            </a:extLst>
          </p:cNvPr>
          <p:cNvSpPr txBox="1"/>
          <p:nvPr/>
        </p:nvSpPr>
        <p:spPr>
          <a:xfrm>
            <a:off x="3487540" y="1663657"/>
            <a:ext cx="29351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latentního období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o nákaze, před infekčností)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915E3A6-2C83-4C2A-9CE0-5284C9CD8F0D}"/>
              </a:ext>
            </a:extLst>
          </p:cNvPr>
          <p:cNvSpPr txBox="1"/>
          <p:nvPr/>
        </p:nvSpPr>
        <p:spPr>
          <a:xfrm>
            <a:off x="6326350" y="2755231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bezpříznakových jedinců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EC9FA024-5E59-4474-9F8F-D201213190EE}"/>
              </a:ext>
            </a:extLst>
          </p:cNvPr>
          <p:cNvSpPr txBox="1"/>
          <p:nvPr/>
        </p:nvSpPr>
        <p:spPr>
          <a:xfrm>
            <a:off x="8762459" y="1707122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infekčního období/rychlost izolace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03E6A01B-C785-4E5E-A264-0E817822A778}"/>
              </a:ext>
            </a:extLst>
          </p:cNvPr>
          <p:cNvSpPr txBox="1"/>
          <p:nvPr/>
        </p:nvSpPr>
        <p:spPr>
          <a:xfrm>
            <a:off x="6179868" y="932247"/>
            <a:ext cx="5074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POČÍTÁNÍ MEZI PŘÍPADY (JEN SYMPTOMATIČTÍ)</a:t>
            </a:r>
          </a:p>
        </p:txBody>
      </p:sp>
      <p:sp>
        <p:nvSpPr>
          <p:cNvPr id="38" name="Šipka: dolů 56">
            <a:extLst>
              <a:ext uri="{FF2B5EF4-FFF2-40B4-BE49-F238E27FC236}">
                <a16:creationId xmlns:a16="http://schemas.microsoft.com/office/drawing/2014/main" id="{782C6E6F-542D-452F-93BB-94B4C05288A8}"/>
              </a:ext>
            </a:extLst>
          </p:cNvPr>
          <p:cNvSpPr/>
          <p:nvPr/>
        </p:nvSpPr>
        <p:spPr>
          <a:xfrm>
            <a:off x="8509197" y="1339569"/>
            <a:ext cx="415367" cy="367553"/>
          </a:xfrm>
          <a:prstGeom prst="downArrow">
            <a:avLst/>
          </a:prstGeom>
          <a:solidFill>
            <a:srgbClr val="D3114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DDCAC9A8-B998-4990-8433-32D07C5EAEB7}"/>
              </a:ext>
            </a:extLst>
          </p:cNvPr>
          <p:cNvSpPr/>
          <p:nvPr/>
        </p:nvSpPr>
        <p:spPr>
          <a:xfrm>
            <a:off x="9439289" y="4938026"/>
            <a:ext cx="1909483" cy="101301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aní jedinci</a:t>
            </a:r>
          </a:p>
        </p:txBody>
      </p:sp>
      <p:sp>
        <p:nvSpPr>
          <p:cNvPr id="40" name="Šipka: doprava 20">
            <a:extLst>
              <a:ext uri="{FF2B5EF4-FFF2-40B4-BE49-F238E27FC236}">
                <a16:creationId xmlns:a16="http://schemas.microsoft.com/office/drawing/2014/main" id="{A41BEF73-7A63-410D-95FD-7BD1E2D4B038}"/>
              </a:ext>
            </a:extLst>
          </p:cNvPr>
          <p:cNvSpPr/>
          <p:nvPr/>
        </p:nvSpPr>
        <p:spPr>
          <a:xfrm>
            <a:off x="1804832" y="5210447"/>
            <a:ext cx="7525177" cy="367553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Šipka: doprava 21">
            <a:extLst>
              <a:ext uri="{FF2B5EF4-FFF2-40B4-BE49-F238E27FC236}">
                <a16:creationId xmlns:a16="http://schemas.microsoft.com/office/drawing/2014/main" id="{31B8BC44-7A01-4824-9AED-DF040E9F9BA2}"/>
              </a:ext>
            </a:extLst>
          </p:cNvPr>
          <p:cNvSpPr/>
          <p:nvPr/>
        </p:nvSpPr>
        <p:spPr>
          <a:xfrm rot="5400000">
            <a:off x="9887524" y="4124044"/>
            <a:ext cx="1013009" cy="367553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74FC45F5-50A9-43F3-8CE1-BEE500BD193E}"/>
              </a:ext>
            </a:extLst>
          </p:cNvPr>
          <p:cNvSpPr/>
          <p:nvPr/>
        </p:nvSpPr>
        <p:spPr>
          <a:xfrm>
            <a:off x="1800678" y="3801316"/>
            <a:ext cx="191929" cy="167214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59AD60A5-4AFD-463C-8D2A-104E5B3F5610}"/>
              </a:ext>
            </a:extLst>
          </p:cNvPr>
          <p:cNvSpPr txBox="1"/>
          <p:nvPr/>
        </p:nvSpPr>
        <p:spPr>
          <a:xfrm>
            <a:off x="2070275" y="4846884"/>
            <a:ext cx="2935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čkovaných jedinců</a:t>
            </a:r>
          </a:p>
        </p:txBody>
      </p:sp>
      <p:sp>
        <p:nvSpPr>
          <p:cNvPr id="44" name="Obdélník 43"/>
          <p:cNvSpPr/>
          <p:nvPr/>
        </p:nvSpPr>
        <p:spPr>
          <a:xfrm>
            <a:off x="246823" y="6012633"/>
            <a:ext cx="115376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likace nového modelu s vakcinací vysvětluje rychlejší zpomalování epidemie</a:t>
            </a:r>
          </a:p>
        </p:txBody>
      </p:sp>
      <p:sp>
        <p:nvSpPr>
          <p:cNvPr id="45" name="Šipka dolů 44"/>
          <p:cNvSpPr/>
          <p:nvPr/>
        </p:nvSpPr>
        <p:spPr>
          <a:xfrm>
            <a:off x="5109827" y="6434542"/>
            <a:ext cx="1626932" cy="28630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00243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na populační úrovni prokazatelně zpomaluje, klesá počet nových případů onemocnění</a:t>
            </a:r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/>
        </p:nvSpPr>
        <p:spPr>
          <a:xfrm>
            <a:off x="10631627" y="2732155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631627" y="3040881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631627" y="3349607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631627" y="3658333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631627" y="3967059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0871384" y="2637489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 1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871384" y="294877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871384" y="326006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871384" y="357135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871384" y="388264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22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631627" y="4275784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631627" y="4584508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871384" y="419393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871384" y="4505231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TextovéPole 25"/>
          <p:cNvSpPr txBox="1"/>
          <p:nvPr/>
        </p:nvSpPr>
        <p:spPr>
          <a:xfrm>
            <a:off x="756421" y="5561105"/>
            <a:ext cx="103895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voj ve většině okresů je pozitivní a epidemie klesá, problematické okresy identifikuje zejména vysoká incidence a růstový vývoj v čase. </a:t>
            </a:r>
          </a:p>
        </p:txBody>
      </p:sp>
      <p:pic>
        <p:nvPicPr>
          <p:cNvPr id="27" name="Picture 3" descr="Map&#10;&#10;Description automatically generated">
            <a:extLst>
              <a:ext uri="{FF2B5EF4-FFF2-40B4-BE49-F238E27FC236}">
                <a16:creationId xmlns:a16="http://schemas.microsoft.com/office/drawing/2014/main" id="{552BC8D4-27CE-4092-8897-D8E087733590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35" r="20396"/>
          <a:stretch/>
        </p:blipFill>
        <p:spPr>
          <a:xfrm>
            <a:off x="3743570" y="1989322"/>
            <a:ext cx="3472173" cy="2176655"/>
          </a:xfrm>
          <a:prstGeom prst="rect">
            <a:avLst/>
          </a:prstGeom>
        </p:spPr>
      </p:pic>
      <p:sp>
        <p:nvSpPr>
          <p:cNvPr id="28" name="TextBox 29">
            <a:extLst>
              <a:ext uri="{FF2B5EF4-FFF2-40B4-BE49-F238E27FC236}">
                <a16:creationId xmlns:a16="http://schemas.microsoft.com/office/drawing/2014/main" id="{743A9488-A89A-4239-AEC7-502354C0E771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26463" y="1631807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pic>
        <p:nvPicPr>
          <p:cNvPr id="29" name="Picture 2" descr="Map&#10;&#10;Description automatically generated">
            <a:extLst>
              <a:ext uri="{FF2B5EF4-FFF2-40B4-BE49-F238E27FC236}">
                <a16:creationId xmlns:a16="http://schemas.microsoft.com/office/drawing/2014/main" id="{2BF8348F-2FD1-41EE-84CE-5378A7AF7240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 rotWithShape="1"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7" r="10074"/>
          <a:stretch/>
        </p:blipFill>
        <p:spPr>
          <a:xfrm>
            <a:off x="83269" y="2037079"/>
            <a:ext cx="3476834" cy="2176655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87E38982-83E6-4A31-90DE-9A4BA427909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3743570" y="1589212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.4.2021</a:t>
            </a:r>
          </a:p>
        </p:txBody>
      </p:sp>
      <p:sp>
        <p:nvSpPr>
          <p:cNvPr id="31" name="TextBox 29">
            <a:extLst>
              <a:ext uri="{FF2B5EF4-FFF2-40B4-BE49-F238E27FC236}">
                <a16:creationId xmlns:a16="http://schemas.microsoft.com/office/drawing/2014/main" id="{7CA4E8C6-F25D-45BE-B535-EB83BEB6C699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7369734" y="1589212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6.4.2021</a:t>
            </a:r>
          </a:p>
        </p:txBody>
      </p:sp>
      <p:pic>
        <p:nvPicPr>
          <p:cNvPr id="32" name="Picture 12" descr="Map&#10;&#10;Description automatically generated">
            <a:extLst>
              <a:ext uri="{FF2B5EF4-FFF2-40B4-BE49-F238E27FC236}">
                <a16:creationId xmlns:a16="http://schemas.microsoft.com/office/drawing/2014/main" id="{12A884A8-D5AF-4D40-B54F-5F8ECA0140A5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 rotWithShape="1"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03" r="21226"/>
          <a:stretch/>
        </p:blipFill>
        <p:spPr>
          <a:xfrm>
            <a:off x="7222647" y="2053734"/>
            <a:ext cx="3379102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95648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37C8349D-E00E-4A0E-9E7D-0AB991EC5E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1444" y="1529969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ho rozvolnění 12.-19.4.2021,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- 25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2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školní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9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/jiný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43609" y="6056343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</p:spTree>
    <p:extLst>
      <p:ext uri="{BB962C8B-B14F-4D97-AF65-F5344CB8AC3E}">
        <p14:creationId xmlns:p14="http://schemas.microsoft.com/office/powerpoint/2010/main" val="40396098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E37A6E11-6944-4576-B0A3-2E7B4E1A6A2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926480" y="1529697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ho rozvolnění 12.-19.4.2021,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- 25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2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školní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9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/jiný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43609" y="6056343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</p:spTree>
    <p:extLst>
      <p:ext uri="{BB962C8B-B14F-4D97-AF65-F5344CB8AC3E}">
        <p14:creationId xmlns:p14="http://schemas.microsoft.com/office/powerpoint/2010/main" val="94330261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/>
              <a:t>Nové modely zahrnující i potenciální </a:t>
            </a:r>
          </a:p>
          <a:p>
            <a:r>
              <a:rPr lang="cs-CZ" sz="5000" b="1" dirty="0"/>
              <a:t>dopad postupující vakcinace </a:t>
            </a:r>
          </a:p>
        </p:txBody>
      </p:sp>
    </p:spTree>
    <p:extLst>
      <p:ext uri="{BB962C8B-B14F-4D97-AF65-F5344CB8AC3E}">
        <p14:creationId xmlns:p14="http://schemas.microsoft.com/office/powerpoint/2010/main" val="23113452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134719" y="3346722"/>
            <a:ext cx="1173783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a vývoj epidemie dosud potvrzují,</a:t>
            </a:r>
            <a:r>
              <a:rPr kumimoji="0" lang="cs-CZ" sz="30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že rozvolnění po 12.4. se na vývoji epidemie neprojevilo, situace začíná být stabilní. Pokud i další kroky budou pozvolné a uvážené, lze i v důsledku postupující vakcinace očekávat, že 7denní incidence klesne celorepublikově pod hranici 100 případů / 100 tis. obyv. v první polovině května. </a:t>
            </a: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236288" y="281560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257889" y="152401"/>
            <a:ext cx="11508509" cy="30561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y jsou zpracovány ve scénářích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4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I. </a:t>
            </a:r>
            <a:r>
              <a:rPr lang="cs-CZ" sz="2400" dirty="0">
                <a:solidFill>
                  <a:prstClr val="black"/>
                </a:solidFill>
                <a:latin typeface="Calibri" panose="020F0502020204030204"/>
              </a:rPr>
              <a:t>Rychlé zpomalování epidemie bez vlivu vakcinac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sz="2400" b="1" baseline="0" dirty="0">
                <a:solidFill>
                  <a:prstClr val="black"/>
                </a:solidFill>
                <a:latin typeface="Calibri" panose="020F0502020204030204"/>
              </a:rPr>
              <a:t>II. </a:t>
            </a:r>
            <a:r>
              <a:rPr lang="cs-CZ" sz="2400" baseline="0" dirty="0">
                <a:solidFill>
                  <a:prstClr val="black"/>
                </a:solidFill>
                <a:latin typeface="Calibri" panose="020F0502020204030204"/>
              </a:rPr>
              <a:t>Pozvolné</a:t>
            </a:r>
            <a:r>
              <a:rPr lang="cs-CZ" sz="2400" dirty="0">
                <a:solidFill>
                  <a:prstClr val="black"/>
                </a:solidFill>
                <a:latin typeface="Calibri" panose="020F0502020204030204"/>
              </a:rPr>
              <a:t> rozvolňování v dubnu bez dopadu na růst epidemie a vliv postupující vakcinace</a:t>
            </a:r>
            <a:endParaRPr kumimoji="0" lang="cs-CZ" sz="240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236288" y="5904095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711841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 z 5.3. 2021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174900" y="813302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ývoje</a:t>
            </a:r>
          </a:p>
        </p:txBody>
      </p:sp>
      <p:graphicFrame>
        <p:nvGraphicFramePr>
          <p:cNvPr id="58" name="Chart 4">
            <a:extLst>
              <a:ext uri="{FF2B5EF4-FFF2-40B4-BE49-F238E27FC236}">
                <a16:creationId xmlns:a16="http://schemas.microsoft.com/office/drawing/2014/main" id="{6AF8037E-9CEB-4EF9-871D-03B93915FF8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8907495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2" name="Přímá spojnice 61">
            <a:extLst>
              <a:ext uri="{FF2B5EF4-FFF2-40B4-BE49-F238E27FC236}">
                <a16:creationId xmlns:a16="http://schemas.microsoft.com/office/drawing/2014/main" id="{80D93A6D-177B-4185-B647-B8DF07634E10}"/>
              </a:ext>
            </a:extLst>
          </p:cNvPr>
          <p:cNvCxnSpPr>
            <a:cxnSpLocks/>
          </p:cNvCxnSpPr>
          <p:nvPr/>
        </p:nvCxnSpPr>
        <p:spPr>
          <a:xfrm>
            <a:off x="8184667" y="3488848"/>
            <a:ext cx="237744" cy="0"/>
          </a:xfrm>
          <a:prstGeom prst="line">
            <a:avLst/>
          </a:prstGeom>
          <a:ln w="3810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80699" y="3306641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Snímek prezentuje výsledky simulace prostřednictvím epidemiologického modelu SEIRV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207310" y="293636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504490" y="290060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álná data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4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504490" y="3602891"/>
            <a:ext cx="17572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5. 3. 2021)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34E638C8-29BF-4E40-BC86-1339E761E909}"/>
              </a:ext>
            </a:extLst>
          </p:cNvPr>
          <p:cNvSpPr txBox="1"/>
          <p:nvPr/>
        </p:nvSpPr>
        <p:spPr>
          <a:xfrm>
            <a:off x="2555524" y="854676"/>
            <a:ext cx="9176454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.: významné posílení opatření z 1.3 a rychlé zpomalení epidemie – BEZ vlivu vakcinace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1015407" y="1465738"/>
            <a:ext cx="92462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e zřejmé, že i při předpokládaném významném zpomalování epidemie je pokles zátěže dlouhodobý. Reálná data avšak ukazují na rychlejší pokles zátěže než odpovídá nastavenému scénáři. Do tohoto trendu se již může promítat postupující vakcinace. </a:t>
            </a:r>
          </a:p>
        </p:txBody>
      </p:sp>
    </p:spTree>
    <p:extLst>
      <p:ext uri="{BB962C8B-B14F-4D97-AF65-F5344CB8AC3E}">
        <p14:creationId xmlns:p14="http://schemas.microsoft.com/office/powerpoint/2010/main" val="13022265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 z 5.3. 2021</a:t>
            </a:r>
            <a:endParaRPr lang="cs-CZ" sz="2400" dirty="0">
              <a:latin typeface="+mj-lt"/>
            </a:endParaRPr>
          </a:p>
        </p:txBody>
      </p:sp>
      <p:graphicFrame>
        <p:nvGraphicFramePr>
          <p:cNvPr id="58" name="Chart 4">
            <a:extLst>
              <a:ext uri="{FF2B5EF4-FFF2-40B4-BE49-F238E27FC236}">
                <a16:creationId xmlns:a16="http://schemas.microsoft.com/office/drawing/2014/main" id="{6AF8037E-9CEB-4EF9-871D-03B93915FF8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195505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2" name="Přímá spojnice 61">
            <a:extLst>
              <a:ext uri="{FF2B5EF4-FFF2-40B4-BE49-F238E27FC236}">
                <a16:creationId xmlns:a16="http://schemas.microsoft.com/office/drawing/2014/main" id="{80D93A6D-177B-4185-B647-B8DF07634E10}"/>
              </a:ext>
            </a:extLst>
          </p:cNvPr>
          <p:cNvCxnSpPr>
            <a:cxnSpLocks/>
          </p:cNvCxnSpPr>
          <p:nvPr/>
        </p:nvCxnSpPr>
        <p:spPr>
          <a:xfrm>
            <a:off x="8097533" y="3619548"/>
            <a:ext cx="237744" cy="0"/>
          </a:xfrm>
          <a:prstGeom prst="line">
            <a:avLst/>
          </a:prstGeom>
          <a:ln w="3810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393565" y="3437341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Snímek prezentuje výsledky simulace prostřednictvím epidemiologického modelu SEIRV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20176" y="306706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17356" y="303130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álná data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4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17356" y="3733591"/>
            <a:ext cx="17572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5. 3. 2021)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5376E359-53AC-4716-97B2-ABAF6B80A34E}"/>
              </a:ext>
            </a:extLst>
          </p:cNvPr>
          <p:cNvSpPr txBox="1"/>
          <p:nvPr/>
        </p:nvSpPr>
        <p:spPr>
          <a:xfrm>
            <a:off x="8417356" y="4031289"/>
            <a:ext cx="3352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cxnSp>
        <p:nvCxnSpPr>
          <p:cNvPr id="18" name="Přímá spojnice 17">
            <a:extLst>
              <a:ext uri="{FF2B5EF4-FFF2-40B4-BE49-F238E27FC236}">
                <a16:creationId xmlns:a16="http://schemas.microsoft.com/office/drawing/2014/main" id="{F6111063-B439-4FD9-9FD3-4175F0D8D3BD}"/>
              </a:ext>
            </a:extLst>
          </p:cNvPr>
          <p:cNvCxnSpPr>
            <a:cxnSpLocks/>
          </p:cNvCxnSpPr>
          <p:nvPr/>
        </p:nvCxnSpPr>
        <p:spPr>
          <a:xfrm>
            <a:off x="8122611" y="4167302"/>
            <a:ext cx="237744" cy="0"/>
          </a:xfrm>
          <a:prstGeom prst="line">
            <a:avLst/>
          </a:prstGeom>
          <a:ln w="38100">
            <a:solidFill>
              <a:srgbClr val="FF66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délník 18">
            <a:extLst>
              <a:ext uri="{FF2B5EF4-FFF2-40B4-BE49-F238E27FC236}">
                <a16:creationId xmlns:a16="http://schemas.microsoft.com/office/drawing/2014/main" id="{1E00F13A-C0C8-4436-A1B8-589C547BB6D3}"/>
              </a:ext>
            </a:extLst>
          </p:cNvPr>
          <p:cNvSpPr/>
          <p:nvPr/>
        </p:nvSpPr>
        <p:spPr>
          <a:xfrm>
            <a:off x="8417356" y="4311732"/>
            <a:ext cx="172515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3. 4. 2021)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19726" y="947211"/>
            <a:ext cx="12620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1960384" y="1234899"/>
            <a:ext cx="9809321" cy="369332"/>
          </a:xfrm>
          <a:prstGeom prst="rect">
            <a:avLst/>
          </a:prstGeom>
          <a:solidFill>
            <a:srgbClr val="FF660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: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ění v dubnu se významně neprojeví + rychlý efekt vakcinace </a:t>
            </a:r>
          </a:p>
        </p:txBody>
      </p: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1359152" y="804322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1359152" y="1231124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34E638C8-29BF-4E40-BC86-1339E761E909}"/>
              </a:ext>
            </a:extLst>
          </p:cNvPr>
          <p:cNvSpPr txBox="1"/>
          <p:nvPr/>
        </p:nvSpPr>
        <p:spPr>
          <a:xfrm>
            <a:off x="1960384" y="722416"/>
            <a:ext cx="9809321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: významné posílení opatření z 1.3 a rychle zpomalení epidemie – BEZ vlivu vakcinace</a:t>
            </a:r>
          </a:p>
        </p:txBody>
      </p:sp>
      <p:sp>
        <p:nvSpPr>
          <p:cNvPr id="26" name="TextovéPole 25"/>
          <p:cNvSpPr txBox="1"/>
          <p:nvPr/>
        </p:nvSpPr>
        <p:spPr>
          <a:xfrm>
            <a:off x="1146003" y="1838507"/>
            <a:ext cx="922782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énář II předpokládá uvážené a pozvolné uvolňování opatření v dubnu, bez významného dopadu na šíření nákazy. V tomto případě lze očekávat zrychlený pokles zátěže populace i vlivem postupujícího očkování. </a:t>
            </a:r>
          </a:p>
        </p:txBody>
      </p:sp>
    </p:spTree>
    <p:extLst>
      <p:ext uri="{BB962C8B-B14F-4D97-AF65-F5344CB8AC3E}">
        <p14:creationId xmlns:p14="http://schemas.microsoft.com/office/powerpoint/2010/main" val="354931203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5342EFFE-9D22-45B6-882F-FA56B475A5B1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315567"/>
              </p:ext>
            </p:extLst>
          </p:nvPr>
        </p:nvGraphicFramePr>
        <p:xfrm>
          <a:off x="1752600" y="1803094"/>
          <a:ext cx="8686800" cy="2952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65200">
                  <a:extLst>
                    <a:ext uri="{9D8B030D-6E8A-4147-A177-3AD203B41FA5}">
                      <a16:colId xmlns:a16="http://schemas.microsoft.com/office/drawing/2014/main" val="196662120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040813184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3789941820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49583764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3114857008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45972701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84919792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687465303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588458930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8.8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5.0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2.3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.7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.5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319425"/>
                  </a:ext>
                </a:extLst>
              </a:tr>
            </a:tbl>
          </a:graphicData>
        </a:graphic>
      </p:graphicFrame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id="{ACCF1F24-2217-430F-8189-B151BC42AD4F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591147"/>
              </p:ext>
            </p:extLst>
          </p:nvPr>
        </p:nvGraphicFramePr>
        <p:xfrm>
          <a:off x="197157" y="1432948"/>
          <a:ext cx="11797686" cy="2952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66281">
                  <a:extLst>
                    <a:ext uri="{9D8B030D-6E8A-4147-A177-3AD203B41FA5}">
                      <a16:colId xmlns:a16="http://schemas.microsoft.com/office/drawing/2014/main" val="2706301777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13077620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287291798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2921272003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24978856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2927375975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15 hospitalizací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41 hospitalizací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37 hospitalizací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96 hospitalizací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14 hospitalizací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44 hospitalizací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046660"/>
                  </a:ext>
                </a:extLst>
              </a:tr>
            </a:tbl>
          </a:graphicData>
        </a:graphic>
      </p:graphicFrame>
      <p:graphicFrame>
        <p:nvGraphicFramePr>
          <p:cNvPr id="25" name="Chart 11">
            <a:extLst>
              <a:ext uri="{FF2B5EF4-FFF2-40B4-BE49-F238E27FC236}">
                <a16:creationId xmlns:a16="http://schemas.microsoft.com/office/drawing/2014/main" id="{EA3CCBD1-AEEF-4E73-9642-52A33E59AE6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0081323"/>
              </p:ext>
            </p:extLst>
          </p:nvPr>
        </p:nvGraphicFramePr>
        <p:xfrm>
          <a:off x="386622" y="2628899"/>
          <a:ext cx="11805378" cy="4229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140141" y="4287824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8" name="Zahnutá šipka nahoru 25">
            <a:extLst>
              <a:ext uri="{FF2B5EF4-FFF2-40B4-BE49-F238E27FC236}">
                <a16:creationId xmlns:a16="http://schemas.microsoft.com/office/drawing/2014/main" id="{E359B7D7-130C-4173-9EFC-47F321C82F4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0345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/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Zahnutá šipka nahoru 25">
            <a:extLst>
              <a:ext uri="{FF2B5EF4-FFF2-40B4-BE49-F238E27FC236}">
                <a16:creationId xmlns:a16="http://schemas.microsoft.com/office/drawing/2014/main" id="{64D205E5-DBC4-422A-BF09-BCA621280F66}"/>
              </a:ext>
            </a:extLst>
          </p:cNvPr>
          <p:cNvSpPr/>
          <p:nvPr/>
        </p:nvSpPr>
        <p:spPr>
          <a:xfrm>
            <a:off x="9056914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CA40C928-143B-4896-AF7B-D4BD5932C13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0118BD85-0615-4F73-A73D-0924A20B44F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464A0DF9-2D74-4995-B4F0-4AB553D3AB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Obdélník 34">
              <a:extLst>
                <a:ext uri="{FF2B5EF4-FFF2-40B4-BE49-F238E27FC236}">
                  <a16:creationId xmlns:a16="http://schemas.microsoft.com/office/drawing/2014/main" id="{BDB9DB8F-062F-440A-92BC-D2FD34C150F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TextovéPole 28">
              <a:extLst>
                <a:ext uri="{FF2B5EF4-FFF2-40B4-BE49-F238E27FC236}">
                  <a16:creationId xmlns:a16="http://schemas.microsoft.com/office/drawing/2014/main" id="{71966B87-6F6D-4EA4-B350-25CE639C641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EE3225F5-AE2B-4264-8B98-29C6B37DCB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A5F8663C-1368-47B1-9212-E56B102300A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9" name="Přímá spojnice 18"/>
          <p:cNvCxnSpPr/>
          <p:nvPr>
            <p:custDataLst>
              <p:tags r:id="rId7"/>
            </p:custDataLst>
          </p:nvPr>
        </p:nvCxnSpPr>
        <p:spPr>
          <a:xfrm flipH="1" flipV="1">
            <a:off x="1101851" y="5135420"/>
            <a:ext cx="8559387" cy="3694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4" name="Tabulka 8">
            <a:extLst>
              <a:ext uri="{FF2B5EF4-FFF2-40B4-BE49-F238E27FC236}">
                <a16:creationId xmlns:a16="http://schemas.microsoft.com/office/drawing/2014/main" id="{481B8CF2-DE86-46EA-8A60-4B0BD851DE93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433277214"/>
              </p:ext>
            </p:extLst>
          </p:nvPr>
        </p:nvGraphicFramePr>
        <p:xfrm>
          <a:off x="146287" y="662469"/>
          <a:ext cx="11797686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6281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2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1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2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89778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aktuálně hospitalizovaných</a:t>
            </a:r>
            <a:endParaRPr lang="cs-CZ" dirty="0">
              <a:latin typeface="+mj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439482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2999926" y="590503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19" name="TextovéPole 8">
            <a:extLst>
              <a:ext uri="{FF2B5EF4-FFF2-40B4-BE49-F238E27FC236}">
                <a16:creationId xmlns:a16="http://schemas.microsoft.com/office/drawing/2014/main" id="{98BCF740-215F-4BF1-81D2-071D0AC1B1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029701" y="3545510"/>
            <a:ext cx="2956844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C: silný dopad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atření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ovéPole 23">
            <a:extLst>
              <a:ext uri="{FF2B5EF4-FFF2-40B4-BE49-F238E27FC236}">
                <a16:creationId xmlns:a16="http://schemas.microsoft.com/office/drawing/2014/main" id="{2F9A611F-3D05-40D4-AA01-B765A1AD4B4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029701" y="2534731"/>
            <a:ext cx="2956844" cy="646331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B: slabší dopad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atření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029701" y="4557269"/>
            <a:ext cx="2956844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: + </a:t>
            </a:r>
            <a:r>
              <a:rPr lang="cs-CZ" sz="1400" b="1" dirty="0" smtClean="0">
                <a:solidFill>
                  <a:prstClr val="white"/>
                </a:solidFill>
                <a:latin typeface="Calibri" panose="020F0502020204030204"/>
              </a:rPr>
              <a:t>vliv </a:t>
            </a: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ace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794332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Tabulka 8">
            <a:extLst>
              <a:ext uri="{FF2B5EF4-FFF2-40B4-BE49-F238E27FC236}">
                <a16:creationId xmlns:a16="http://schemas.microsoft.com/office/drawing/2014/main" id="{C618E340-CF60-490B-AD0E-109CA2E8060B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8073846"/>
              </p:ext>
            </p:extLst>
          </p:nvPr>
        </p:nvGraphicFramePr>
        <p:xfrm>
          <a:off x="146287" y="662469"/>
          <a:ext cx="11797686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6281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2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1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2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</a:tbl>
          </a:graphicData>
        </a:graphic>
      </p:graphicFrame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F38BA061-C1BF-42B4-A8D3-E06E54106025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823823"/>
              </p:ext>
            </p:extLst>
          </p:nvPr>
        </p:nvGraphicFramePr>
        <p:xfrm>
          <a:off x="1752600" y="1803094"/>
          <a:ext cx="8686800" cy="2952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65200">
                  <a:extLst>
                    <a:ext uri="{9D8B030D-6E8A-4147-A177-3AD203B41FA5}">
                      <a16:colId xmlns:a16="http://schemas.microsoft.com/office/drawing/2014/main" val="196662120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040813184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3789941820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49583764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3114857008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45972701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84919792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687465303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588458930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7.2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4.0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2.7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8.1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.8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319425"/>
                  </a:ext>
                </a:extLst>
              </a:tr>
            </a:tbl>
          </a:graphicData>
        </a:graphic>
      </p:graphicFrame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Zahnutá šipka nahoru 25">
            <a:extLst>
              <a:ext uri="{FF2B5EF4-FFF2-40B4-BE49-F238E27FC236}">
                <a16:creationId xmlns:a16="http://schemas.microsoft.com/office/drawing/2014/main" id="{3D31CB96-ADEB-47C9-A675-E23FD094E07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94213" y="1838493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Zahnutá šipka nahoru 25">
            <a:extLst>
              <a:ext uri="{FF2B5EF4-FFF2-40B4-BE49-F238E27FC236}">
                <a16:creationId xmlns:a16="http://schemas.microsoft.com/office/drawing/2014/main" id="{531FA440-D950-4855-8A5A-41583949B9D7}"/>
              </a:ext>
            </a:extLst>
          </p:cNvPr>
          <p:cNvSpPr/>
          <p:nvPr/>
        </p:nvSpPr>
        <p:spPr>
          <a:xfrm>
            <a:off x="3163628" y="1838493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Zahnutá šipka nahoru 25">
            <a:extLst>
              <a:ext uri="{FF2B5EF4-FFF2-40B4-BE49-F238E27FC236}">
                <a16:creationId xmlns:a16="http://schemas.microsoft.com/office/drawing/2014/main" id="{EED5D406-688B-4028-B433-E17549E6B582}"/>
              </a:ext>
            </a:extLst>
          </p:cNvPr>
          <p:cNvSpPr/>
          <p:nvPr/>
        </p:nvSpPr>
        <p:spPr>
          <a:xfrm>
            <a:off x="5107628" y="1838493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Zahnutá šipka nahoru 25">
            <a:extLst>
              <a:ext uri="{FF2B5EF4-FFF2-40B4-BE49-F238E27FC236}">
                <a16:creationId xmlns:a16="http://schemas.microsoft.com/office/drawing/2014/main" id="{239684B6-1F9E-4D4A-99B3-465E0D266E48}"/>
              </a:ext>
            </a:extLst>
          </p:cNvPr>
          <p:cNvSpPr/>
          <p:nvPr/>
        </p:nvSpPr>
        <p:spPr>
          <a:xfrm>
            <a:off x="7077043" y="1838493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Zahnutá šipka nahoru 25">
            <a:extLst>
              <a:ext uri="{FF2B5EF4-FFF2-40B4-BE49-F238E27FC236}">
                <a16:creationId xmlns:a16="http://schemas.microsoft.com/office/drawing/2014/main" id="{014848F3-E01B-4FEE-A43C-793BB5BF9DED}"/>
              </a:ext>
            </a:extLst>
          </p:cNvPr>
          <p:cNvSpPr/>
          <p:nvPr/>
        </p:nvSpPr>
        <p:spPr>
          <a:xfrm>
            <a:off x="9047677" y="1838493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9" name="Chart 11">
            <a:extLst>
              <a:ext uri="{FF2B5EF4-FFF2-40B4-BE49-F238E27FC236}">
                <a16:creationId xmlns:a16="http://schemas.microsoft.com/office/drawing/2014/main" id="{1D7A62A1-305C-4E9A-95A3-62A5167F3C58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44219858"/>
              </p:ext>
            </p:extLst>
          </p:nvPr>
        </p:nvGraphicFramePr>
        <p:xfrm>
          <a:off x="557348" y="2464448"/>
          <a:ext cx="11634651" cy="43810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5" name="Skupina 24">
            <a:extLst>
              <a:ext uri="{FF2B5EF4-FFF2-40B4-BE49-F238E27FC236}">
                <a16:creationId xmlns:a16="http://schemas.microsoft.com/office/drawing/2014/main" id="{CA40C928-143B-4896-AF7B-D4BD5932C13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0118BD85-0615-4F73-A73D-0924A20B44F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464A0DF9-2D74-4995-B4F0-4AB553D3AB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Obdélník 27">
              <a:extLst>
                <a:ext uri="{FF2B5EF4-FFF2-40B4-BE49-F238E27FC236}">
                  <a16:creationId xmlns:a16="http://schemas.microsoft.com/office/drawing/2014/main" id="{BDB9DB8F-062F-440A-92BC-D2FD34C150F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TextovéPole 28">
              <a:extLst>
                <a:ext uri="{FF2B5EF4-FFF2-40B4-BE49-F238E27FC236}">
                  <a16:creationId xmlns:a16="http://schemas.microsoft.com/office/drawing/2014/main" id="{71966B87-6F6D-4EA4-B350-25CE639C641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EE3225F5-AE2B-4264-8B98-29C6B37DCB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A5F8663C-1368-47B1-9212-E56B102300A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" name="Přímá spojnice 2"/>
          <p:cNvCxnSpPr/>
          <p:nvPr/>
        </p:nvCxnSpPr>
        <p:spPr>
          <a:xfrm flipH="1" flipV="1">
            <a:off x="1194213" y="5116945"/>
            <a:ext cx="8559387" cy="3694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A993E006-A971-4CFE-92BA-F40989168BB4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55299647"/>
              </p:ext>
            </p:extLst>
          </p:nvPr>
        </p:nvGraphicFramePr>
        <p:xfrm>
          <a:off x="197157" y="1432948"/>
          <a:ext cx="11797686" cy="2952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66281">
                  <a:extLst>
                    <a:ext uri="{9D8B030D-6E8A-4147-A177-3AD203B41FA5}">
                      <a16:colId xmlns:a16="http://schemas.microsoft.com/office/drawing/2014/main" val="2706301777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13077620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287291798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2921272003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24978856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2927375975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35 hospitalizací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03 hospitalizací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64 hospitalizací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78 hospitalizací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47 hospitalizací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9 hospitalizací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0466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7207188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aktuálně hospitalizovaných</a:t>
            </a:r>
            <a:r>
              <a:rPr lang="en-US" u="sng" dirty="0">
                <a:latin typeface="+mj-lt"/>
              </a:rPr>
              <a:t> </a:t>
            </a:r>
            <a:r>
              <a:rPr lang="en-US" u="sng" dirty="0" err="1">
                <a:latin typeface="+mj-lt"/>
              </a:rPr>
              <a:t>na</a:t>
            </a:r>
            <a:r>
              <a:rPr lang="en-US" u="sng" dirty="0">
                <a:latin typeface="+mj-lt"/>
              </a:rPr>
              <a:t> JIP</a:t>
            </a:r>
            <a:endParaRPr lang="cs-CZ" dirty="0"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0B364D7-B9DD-4ACF-A330-0F27E8BA3BF5}"/>
              </a:ext>
            </a:extLst>
          </p:cNvPr>
          <p:cNvSpPr/>
          <p:nvPr/>
        </p:nvSpPr>
        <p:spPr>
          <a:xfrm>
            <a:off x="2999926" y="590503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5596356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5" name="TextovéPole 8">
            <a:extLst>
              <a:ext uri="{FF2B5EF4-FFF2-40B4-BE49-F238E27FC236}">
                <a16:creationId xmlns:a16="http://schemas.microsoft.com/office/drawing/2014/main" id="{CB706991-EBE8-4027-BDB5-C4FC71BF2B1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029701" y="3856060"/>
            <a:ext cx="2956844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C: silný dopad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atření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TextovéPole 23">
            <a:extLst>
              <a:ext uri="{FF2B5EF4-FFF2-40B4-BE49-F238E27FC236}">
                <a16:creationId xmlns:a16="http://schemas.microsoft.com/office/drawing/2014/main" id="{AA05B670-E2FC-41D0-A9F8-BC014393206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029701" y="2845281"/>
            <a:ext cx="2956844" cy="646331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B: slabší dopad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atření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60368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F037D399-9F64-40E4-8D3C-0D5A836D17A6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0475798"/>
              </p:ext>
            </p:extLst>
          </p:nvPr>
        </p:nvGraphicFramePr>
        <p:xfrm>
          <a:off x="1705406" y="2192451"/>
          <a:ext cx="8686800" cy="2952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65200">
                  <a:extLst>
                    <a:ext uri="{9D8B030D-6E8A-4147-A177-3AD203B41FA5}">
                      <a16:colId xmlns:a16="http://schemas.microsoft.com/office/drawing/2014/main" val="196662120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040813184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3789941820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49583764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3114857008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45972701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84919792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687465303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588458930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.1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4.6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.4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9.6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0.4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319425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37549C43-2193-41A9-BEE1-EB00FC4C99A8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4272646"/>
              </p:ext>
            </p:extLst>
          </p:nvPr>
        </p:nvGraphicFramePr>
        <p:xfrm>
          <a:off x="149963" y="1822305"/>
          <a:ext cx="11797686" cy="2952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66281">
                  <a:extLst>
                    <a:ext uri="{9D8B030D-6E8A-4147-A177-3AD203B41FA5}">
                      <a16:colId xmlns:a16="http://schemas.microsoft.com/office/drawing/2014/main" val="2706301777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13077620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287291798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2921272003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24978856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2927375975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32 případ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71 případ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97 případ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56 případ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94 případ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82 případ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046660"/>
                  </a:ext>
                </a:extLst>
              </a:tr>
            </a:tbl>
          </a:graphicData>
        </a:graphic>
      </p:graphicFrame>
      <p:graphicFrame>
        <p:nvGraphicFramePr>
          <p:cNvPr id="39" name="Chart 4">
            <a:extLst>
              <a:ext uri="{FF2B5EF4-FFF2-40B4-BE49-F238E27FC236}">
                <a16:creationId xmlns:a16="http://schemas.microsoft.com/office/drawing/2014/main" id="{F3B3A751-5826-48A2-8A63-61032D0536F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85235843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76839" cy="576000"/>
          </a:xfrm>
        </p:spPr>
        <p:txBody>
          <a:bodyPr/>
          <a:lstStyle/>
          <a:p>
            <a:r>
              <a:rPr lang="cs-CZ" dirty="0"/>
              <a:t>Počty nově diagnostikovaných pacientů: týdenní vývoj v ČR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215" y="546834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ynamika vývoje počtů pozitivních diagnóz ukazuje na zpomalení šíření nemoci.</a:t>
            </a:r>
          </a:p>
        </p:txBody>
      </p:sp>
      <p:sp>
        <p:nvSpPr>
          <p:cNvPr id="36" name="Šipka doprava 58">
            <a:extLst>
              <a:ext uri="{FF2B5EF4-FFF2-40B4-BE49-F238E27FC236}">
                <a16:creationId xmlns:a16="http://schemas.microsoft.com/office/drawing/2014/main" id="{1EB91550-BE39-4068-9AA2-464822A320B7}"/>
              </a:ext>
            </a:extLst>
          </p:cNvPr>
          <p:cNvSpPr/>
          <p:nvPr/>
        </p:nvSpPr>
        <p:spPr>
          <a:xfrm rot="697074" flipV="1">
            <a:off x="11145324" y="5037652"/>
            <a:ext cx="521883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02FE6BCD-B160-4DEB-82CC-D4CDD287F607}"/>
              </a:ext>
            </a:extLst>
          </p:cNvPr>
          <p:cNvSpPr/>
          <p:nvPr/>
        </p:nvSpPr>
        <p:spPr>
          <a:xfrm>
            <a:off x="1203450" y="230954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Zahnutá šipka nahoru 25">
            <a:extLst>
              <a:ext uri="{FF2B5EF4-FFF2-40B4-BE49-F238E27FC236}">
                <a16:creationId xmlns:a16="http://schemas.microsoft.com/office/drawing/2014/main" id="{E87C39AF-5DBF-4112-A008-28FE61C7D806}"/>
              </a:ext>
            </a:extLst>
          </p:cNvPr>
          <p:cNvSpPr/>
          <p:nvPr/>
        </p:nvSpPr>
        <p:spPr>
          <a:xfrm>
            <a:off x="3172865" y="230954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9A04A270-7187-4E15-B7EC-383522621181}"/>
              </a:ext>
            </a:extLst>
          </p:cNvPr>
          <p:cNvSpPr/>
          <p:nvPr/>
        </p:nvSpPr>
        <p:spPr>
          <a:xfrm>
            <a:off x="5116865" y="230954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Zahnutá šipka nahoru 25">
            <a:extLst>
              <a:ext uri="{FF2B5EF4-FFF2-40B4-BE49-F238E27FC236}">
                <a16:creationId xmlns:a16="http://schemas.microsoft.com/office/drawing/2014/main" id="{35647ED1-6EF9-4788-866E-E82C5C053706}"/>
              </a:ext>
            </a:extLst>
          </p:cNvPr>
          <p:cNvSpPr/>
          <p:nvPr/>
        </p:nvSpPr>
        <p:spPr>
          <a:xfrm>
            <a:off x="7086280" y="230954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Zahnutá šipka nahoru 25">
            <a:extLst>
              <a:ext uri="{FF2B5EF4-FFF2-40B4-BE49-F238E27FC236}">
                <a16:creationId xmlns:a16="http://schemas.microsoft.com/office/drawing/2014/main" id="{BEB8EDC1-DE8F-4A9A-B5D7-4664DBC21F67}"/>
              </a:ext>
            </a:extLst>
          </p:cNvPr>
          <p:cNvSpPr/>
          <p:nvPr/>
        </p:nvSpPr>
        <p:spPr>
          <a:xfrm>
            <a:off x="9056914" y="230954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09AF1931-9334-4129-B826-B01E87F9D75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27675" y="3112433"/>
            <a:ext cx="3956723" cy="400110"/>
          </a:xfrm>
          <a:prstGeom prst="rect">
            <a:avLst/>
          </a:prstGeom>
          <a:solidFill>
            <a:srgbClr val="9E0D34"/>
          </a:solidFill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ktuální odhad R pro ČR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0,8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21" name="Tabulka 8">
            <a:extLst>
              <a:ext uri="{FF2B5EF4-FFF2-40B4-BE49-F238E27FC236}">
                <a16:creationId xmlns:a16="http://schemas.microsoft.com/office/drawing/2014/main" id="{D0C584D2-EEC6-4A09-8F60-F2EA1C28695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914908769"/>
              </p:ext>
            </p:extLst>
          </p:nvPr>
        </p:nvGraphicFramePr>
        <p:xfrm>
          <a:off x="99093" y="1051826"/>
          <a:ext cx="11797686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6281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z</a:t>
                      </a:r>
                      <a:r>
                        <a:rPr lang="cs-CZ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z</a:t>
                      </a:r>
                      <a:r>
                        <a:rPr lang="cs-CZ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z</a:t>
                      </a:r>
                      <a:r>
                        <a:rPr lang="cs-CZ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z</a:t>
                      </a:r>
                      <a:r>
                        <a:rPr lang="cs-CZ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z</a:t>
                      </a:r>
                      <a:r>
                        <a:rPr lang="cs-CZ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z</a:t>
                      </a:r>
                      <a:r>
                        <a:rPr lang="cs-CZ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2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1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2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066280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nových hospitalizačních</a:t>
            </a:r>
            <a:r>
              <a:rPr lang="cs-CZ" dirty="0">
                <a:latin typeface="+mj-lt"/>
              </a:rPr>
              <a:t> případů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3BCB8F-8668-482B-AE73-37F5C6048A3E}"/>
              </a:ext>
            </a:extLst>
          </p:cNvPr>
          <p:cNvSpPr/>
          <p:nvPr/>
        </p:nvSpPr>
        <p:spPr>
          <a:xfrm>
            <a:off x="2999926" y="590503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30BB482-BBA1-4B51-97C3-EC21F9C9ABD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1533586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5" name="TextovéPole 8">
            <a:extLst>
              <a:ext uri="{FF2B5EF4-FFF2-40B4-BE49-F238E27FC236}">
                <a16:creationId xmlns:a16="http://schemas.microsoft.com/office/drawing/2014/main" id="{B06FFCE7-EE25-45B1-A0E1-477FF98632A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029701" y="3243587"/>
            <a:ext cx="2956844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C: silný dopad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atření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TextovéPole 23">
            <a:extLst>
              <a:ext uri="{FF2B5EF4-FFF2-40B4-BE49-F238E27FC236}">
                <a16:creationId xmlns:a16="http://schemas.microsoft.com/office/drawing/2014/main" id="{E224CE9E-101B-407E-A701-C5A64FA8786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029701" y="2232808"/>
            <a:ext cx="2956844" cy="646331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B: slabší dopad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atření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ovéPole 29">
            <a:extLst>
              <a:ext uri="{FF2B5EF4-FFF2-40B4-BE49-F238E27FC236}">
                <a16:creationId xmlns:a16="http://schemas.microsoft.com/office/drawing/2014/main" id="{666F8909-DDA0-48D0-AB89-AA82911F26B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029701" y="4300869"/>
            <a:ext cx="2956844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1: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ace/pomalý efekt</a:t>
            </a:r>
          </a:p>
        </p:txBody>
      </p:sp>
      <p:sp>
        <p:nvSpPr>
          <p:cNvPr id="28" name="TextovéPole 30">
            <a:extLst>
              <a:ext uri="{FF2B5EF4-FFF2-40B4-BE49-F238E27FC236}">
                <a16:creationId xmlns:a16="http://schemas.microsoft.com/office/drawing/2014/main" id="{9951F7E6-900F-4ACA-9600-0B1BB01CE25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029701" y="4840641"/>
            <a:ext cx="2956844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2: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ace/rychlý efekt</a:t>
            </a:r>
          </a:p>
        </p:txBody>
      </p:sp>
    </p:spTree>
    <p:extLst>
      <p:ext uri="{BB962C8B-B14F-4D97-AF65-F5344CB8AC3E}">
        <p14:creationId xmlns:p14="http://schemas.microsoft.com/office/powerpoint/2010/main" val="3285733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 smtClean="0"/>
              <a:t>Závěrem</a:t>
            </a:r>
          </a:p>
          <a:p>
            <a:r>
              <a:rPr lang="cs-CZ" sz="5000" b="1" dirty="0" smtClean="0"/>
              <a:t>Stav populace z hlediska citlivosti k nákaze</a:t>
            </a:r>
            <a:endParaRPr lang="cs-CZ" sz="5000" b="1" dirty="0"/>
          </a:p>
        </p:txBody>
      </p:sp>
    </p:spTree>
    <p:extLst>
      <p:ext uri="{BB962C8B-B14F-4D97-AF65-F5344CB8AC3E}">
        <p14:creationId xmlns:p14="http://schemas.microsoft.com/office/powerpoint/2010/main" val="296370232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BA9A5602-B2DD-4B9B-B804-B76208D951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182" y="2"/>
            <a:ext cx="7770039" cy="576000"/>
          </a:xfrm>
        </p:spPr>
        <p:txBody>
          <a:bodyPr/>
          <a:lstStyle/>
          <a:p>
            <a:r>
              <a:rPr lang="cs-CZ" dirty="0"/>
              <a:t>Struktura </a:t>
            </a:r>
            <a:r>
              <a:rPr lang="cs-CZ" dirty="0" err="1"/>
              <a:t>popualce</a:t>
            </a:r>
            <a:r>
              <a:rPr lang="cs-CZ" dirty="0"/>
              <a:t> z hlediska vnímavosti k infekci </a:t>
            </a:r>
            <a:endParaRPr lang="cs-CZ" dirty="0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BB86BB76-CC47-462F-A03A-EC66C88AF4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953" y="1418513"/>
            <a:ext cx="8987907" cy="3851960"/>
          </a:xfrm>
          <a:prstGeom prst="rect">
            <a:avLst/>
          </a:prstGeom>
        </p:spPr>
      </p:pic>
      <p:graphicFrame>
        <p:nvGraphicFramePr>
          <p:cNvPr id="7" name="Tabulka 10">
            <a:extLst>
              <a:ext uri="{FF2B5EF4-FFF2-40B4-BE49-F238E27FC236}">
                <a16:creationId xmlns:a16="http://schemas.microsoft.com/office/drawing/2014/main" id="{C69C8526-CC5F-4C7B-99F2-F82550E6E1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6525542"/>
              </p:ext>
            </p:extLst>
          </p:nvPr>
        </p:nvGraphicFramePr>
        <p:xfrm>
          <a:off x="1786059" y="4491350"/>
          <a:ext cx="7824707" cy="2750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1337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A8107364-C927-43EB-AC8E-A3312D63BD0C}"/>
              </a:ext>
            </a:extLst>
          </p:cNvPr>
          <p:cNvSpPr txBox="1"/>
          <p:nvPr/>
        </p:nvSpPr>
        <p:spPr>
          <a:xfrm>
            <a:off x="1622630" y="707702"/>
            <a:ext cx="813231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ientační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had rozdělení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ů v populaci v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ase (populační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odely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b="1" baseline="0" dirty="0" smtClean="0">
                <a:solidFill>
                  <a:prstClr val="black"/>
                </a:solidFill>
                <a:latin typeface="Calibri" panose="020F0502020204030204"/>
              </a:rPr>
              <a:t>Konzervativní predikce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73E4C5B4-A094-44CE-87BA-9F1B2A58F434}"/>
              </a:ext>
            </a:extLst>
          </p:cNvPr>
          <p:cNvSpPr txBox="1"/>
          <p:nvPr/>
        </p:nvSpPr>
        <p:spPr>
          <a:xfrm>
            <a:off x="8016311" y="4918916"/>
            <a:ext cx="34848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ovaní včetně v minulosti infikovaných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920953" y="5423023"/>
            <a:ext cx="1010976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200" b="1" dirty="0" smtClean="0"/>
              <a:t>V populaci je stále relativně mnoho k nákaze vnímavých jedinců (40 – 50%), kteří se mohou nakazit a epidemii obrátit zpět k růstu. Zdravotní dopad tohoto potenciálního rizika bude postupně snižovat postupující vakcinace starších populačních skupin. </a:t>
            </a:r>
            <a:endParaRPr lang="cs-CZ" sz="2200" b="1" dirty="0"/>
          </a:p>
        </p:txBody>
      </p:sp>
    </p:spTree>
    <p:extLst>
      <p:ext uri="{BB962C8B-B14F-4D97-AF65-F5344CB8AC3E}">
        <p14:creationId xmlns:p14="http://schemas.microsoft.com/office/powerpoint/2010/main" val="195631416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2BB8491A-FBE1-4525-9D24-44ABA68EC3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953" y="1487839"/>
            <a:ext cx="8904000" cy="3816000"/>
          </a:xfrm>
          <a:prstGeom prst="rect">
            <a:avLst/>
          </a:prstGeom>
        </p:spPr>
      </p:pic>
      <p:sp>
        <p:nvSpPr>
          <p:cNvPr id="4" name="Nadpis 3">
            <a:extLst>
              <a:ext uri="{FF2B5EF4-FFF2-40B4-BE49-F238E27FC236}">
                <a16:creationId xmlns:a16="http://schemas.microsoft.com/office/drawing/2014/main" id="{BA9A5602-B2DD-4B9B-B804-B76208D951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182" y="2"/>
            <a:ext cx="7770039" cy="576000"/>
          </a:xfrm>
        </p:spPr>
        <p:txBody>
          <a:bodyPr/>
          <a:lstStyle/>
          <a:p>
            <a:r>
              <a:rPr lang="cs-CZ" dirty="0" smtClean="0"/>
              <a:t>Struktura </a:t>
            </a:r>
            <a:r>
              <a:rPr lang="cs-CZ" dirty="0" err="1" smtClean="0"/>
              <a:t>popualce</a:t>
            </a:r>
            <a:r>
              <a:rPr lang="cs-CZ" dirty="0" smtClean="0"/>
              <a:t> z hlediska vnímavosti k infekci </a:t>
            </a:r>
            <a:endParaRPr lang="cs-CZ" dirty="0"/>
          </a:p>
        </p:txBody>
      </p:sp>
      <p:graphicFrame>
        <p:nvGraphicFramePr>
          <p:cNvPr id="7" name="Tabulka 10">
            <a:extLst>
              <a:ext uri="{FF2B5EF4-FFF2-40B4-BE49-F238E27FC236}">
                <a16:creationId xmlns:a16="http://schemas.microsoft.com/office/drawing/2014/main" id="{C69C8526-CC5F-4C7B-99F2-F82550E6E1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9719042"/>
              </p:ext>
            </p:extLst>
          </p:nvPr>
        </p:nvGraphicFramePr>
        <p:xfrm>
          <a:off x="1786059" y="4560362"/>
          <a:ext cx="7824707" cy="2750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1337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A8107364-C927-43EB-AC8E-A3312D63BD0C}"/>
              </a:ext>
            </a:extLst>
          </p:cNvPr>
          <p:cNvSpPr txBox="1"/>
          <p:nvPr/>
        </p:nvSpPr>
        <p:spPr>
          <a:xfrm>
            <a:off x="1622630" y="707702"/>
            <a:ext cx="81323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black"/>
                </a:solidFill>
              </a:rPr>
              <a:t>Orientační odhad rozdělení stavů v populaci v čase (populační modely)</a:t>
            </a:r>
          </a:p>
          <a:p>
            <a:pPr lvl="0" algn="ctr">
              <a:defRPr/>
            </a:pPr>
            <a:r>
              <a:rPr lang="cs-CZ" b="1" dirty="0" smtClean="0">
                <a:solidFill>
                  <a:prstClr val="black"/>
                </a:solidFill>
              </a:rPr>
              <a:t>Predikce s maximální počty již infikovaných osob</a:t>
            </a:r>
            <a:endParaRPr lang="cs-CZ" b="1" dirty="0">
              <a:solidFill>
                <a:prstClr val="black"/>
              </a:solidFill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73E4C5B4-A094-44CE-87BA-9F1B2A58F434}"/>
              </a:ext>
            </a:extLst>
          </p:cNvPr>
          <p:cNvSpPr txBox="1"/>
          <p:nvPr/>
        </p:nvSpPr>
        <p:spPr>
          <a:xfrm>
            <a:off x="8016311" y="4987928"/>
            <a:ext cx="34848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ovaní včetně v minulosti infikovaných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920953" y="5423023"/>
            <a:ext cx="1010976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200" b="1" dirty="0" smtClean="0"/>
              <a:t>V populaci je stále relativně mnoho k nákaze vnímavých jedinců (40 – 50%), kteří se mohou nakazit a epidemii obrátit zpět k růstu. Zdravotní dopad tohoto potenciálního rizika bude postupně snižovat postupující vakcinace starších populačních skupin. </a:t>
            </a:r>
            <a:endParaRPr lang="cs-CZ" sz="2200" b="1" dirty="0"/>
          </a:p>
        </p:txBody>
      </p:sp>
    </p:spTree>
    <p:extLst>
      <p:ext uri="{BB962C8B-B14F-4D97-AF65-F5344CB8AC3E}">
        <p14:creationId xmlns:p14="http://schemas.microsoft.com/office/powerpoint/2010/main" val="150188254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3D48422-1472-2B43-AFF4-50C66979E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247" y="2069359"/>
            <a:ext cx="11490037" cy="1325563"/>
          </a:xfrm>
        </p:spPr>
        <p:txBody>
          <a:bodyPr>
            <a:noAutofit/>
          </a:bodyPr>
          <a:lstStyle/>
          <a:p>
            <a:pPr algn="ctr"/>
            <a:r>
              <a:rPr lang="en-CZ" sz="3400" b="1" dirty="0"/>
              <a:t/>
            </a:r>
            <a:br>
              <a:rPr lang="en-CZ" sz="3400" b="1" dirty="0"/>
            </a:br>
            <a:r>
              <a:rPr lang="cs-CZ" sz="6000" b="1" dirty="0">
                <a:latin typeface="+mn-lt"/>
              </a:rPr>
              <a:t>DĚKUJI ZA POZORNOST</a:t>
            </a:r>
            <a:endParaRPr lang="en-CZ" sz="6000" b="1" dirty="0"/>
          </a:p>
        </p:txBody>
      </p:sp>
    </p:spTree>
    <p:extLst>
      <p:ext uri="{BB962C8B-B14F-4D97-AF65-F5344CB8AC3E}">
        <p14:creationId xmlns:p14="http://schemas.microsoft.com/office/powerpoint/2010/main" val="5171583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666984"/>
              </p:ext>
            </p:extLst>
          </p:nvPr>
        </p:nvGraphicFramePr>
        <p:xfrm>
          <a:off x="1392507" y="1602506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3842" y="873810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ospělých </a:t>
            </a:r>
          </a:p>
        </p:txBody>
      </p:sp>
    </p:spTree>
    <p:extLst>
      <p:ext uri="{BB962C8B-B14F-4D97-AF65-F5344CB8AC3E}">
        <p14:creationId xmlns:p14="http://schemas.microsoft.com/office/powerpoint/2010/main" val="35851275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143228" y="3830816"/>
            <a:ext cx="1173783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á relativní pozitivita diagnostických a také epidemiologicky indikovaných testů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236290" y="321058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257889" y="391539"/>
            <a:ext cx="11508509" cy="28170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 prokazatelné, že na populačních datech se neprojevil negativní vliv Velikonoc a rovněž ani změny přijaté po 12.4. Zpomalování epidemie je patrné ve všech regionech, ačkoli mezi nimi existují značné rozdíly.</a:t>
            </a:r>
            <a:endParaRPr kumimoji="0" lang="cs-CZ" sz="38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227781" y="584046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645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diagnostické </a:t>
            </a:r>
            <a:r>
              <a:rPr lang="cs-CZ" dirty="0" smtClean="0"/>
              <a:t>a klinické indikace 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/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/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Table 13">
            <a:extLst>
              <a:ext uri="{FF2B5EF4-FFF2-40B4-BE49-F238E27FC236}">
                <a16:creationId xmlns:a16="http://schemas.microsoft.com/office/drawing/2014/main" id="{B2C7D8FA-3977-40BC-9AB5-A5092641E5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382873"/>
              </p:ext>
            </p:extLst>
          </p:nvPr>
        </p:nvGraphicFramePr>
        <p:xfrm>
          <a:off x="1472912" y="576002"/>
          <a:ext cx="3211232" cy="2216356"/>
        </p:xfrm>
        <a:graphic>
          <a:graphicData uri="http://schemas.openxmlformats.org/drawingml/2006/table">
            <a:tbl>
              <a:tblPr/>
              <a:tblGrid>
                <a:gridCol w="1714380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96852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2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4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6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6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4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389261" y="2792358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21032033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epidemiologické indikace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/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8" name="Table 13">
            <a:extLst>
              <a:ext uri="{FF2B5EF4-FFF2-40B4-BE49-F238E27FC236}">
                <a16:creationId xmlns:a16="http://schemas.microsoft.com/office/drawing/2014/main" id="{FA8DFEF1-1980-4AF5-A8AE-EA6D833B73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2789692"/>
              </p:ext>
            </p:extLst>
          </p:nvPr>
        </p:nvGraphicFramePr>
        <p:xfrm>
          <a:off x="1412526" y="576002"/>
          <a:ext cx="3153360" cy="221635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5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4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1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,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328874" y="2792358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6228780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 lnSpcReduction="10000"/>
          </a:bodyPr>
          <a:lstStyle/>
          <a:p>
            <a:r>
              <a:rPr lang="cs-CZ" sz="4800" b="1" dirty="0" smtClean="0"/>
              <a:t>Jakmile dostaneme epidemii pod kontrolu, </a:t>
            </a:r>
          </a:p>
          <a:p>
            <a:r>
              <a:rPr lang="cs-CZ" sz="4800" b="1" dirty="0" smtClean="0"/>
              <a:t>bude zásadní sledování na úrovni </a:t>
            </a:r>
          </a:p>
          <a:p>
            <a:r>
              <a:rPr lang="cs-CZ" sz="4800" b="1" dirty="0" smtClean="0"/>
              <a:t>krajů – okresů – ORP 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38004838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338283" y="203231"/>
            <a:ext cx="11249025" cy="13392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ametry dostupné pro hodnocení od 07/2020 odpovídají relevantním mezinárodním doporučením</a:t>
            </a:r>
            <a:endParaRPr kumimoji="0" lang="cs-CZ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101599" y="1822771"/>
            <a:ext cx="9600044" cy="48341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Times New Roman" panose="02020603050405020304" pitchFamily="18" charset="0"/>
              <a:buChar char="-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čty nově prokázaných případů (14denní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ebo 7denní počet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/ 100 tis. obyv.)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Times New Roman" panose="02020603050405020304" pitchFamily="18" charset="0"/>
              <a:buChar char="-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produkční číslo a relativní změna počtu nákaz ve srovnání týdenních a 10denních period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Times New Roman" panose="02020603050405020304" pitchFamily="18" charset="0"/>
              <a:buChar char="-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čty nově prokázaných případů ve věku 65+ (14denní nebo 7denní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čet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/ 100 tis. obyv. 65+)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Times New Roman" panose="02020603050405020304" pitchFamily="18" charset="0"/>
              <a:buChar char="-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čty nově prokázaných případů ve věku 75+ (14denní nebo 7denní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čet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/ 100 tis. obyv. 75+)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Times New Roman" panose="02020603050405020304" pitchFamily="18" charset="0"/>
              <a:buChar char="-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lativní pozitivita záchytu nemoci u testů z různé indikace, zejména u diagnosticky a klinicky indikovaných PCR testů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Times New Roman" panose="02020603050405020304" pitchFamily="18" charset="0"/>
              <a:buChar char="-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čet a podíl pacientů diagnostikovaných se symptomy nemoci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Times New Roman" panose="02020603050405020304" pitchFamily="18" charset="0"/>
              <a:buChar char="-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čet a podíl hospitalizovaných nezachycených v komunitě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Times New Roman" panose="02020603050405020304" pitchFamily="18" charset="0"/>
              <a:buChar char="-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čet hospitalizovaných pacientů celkem a počet pacientů léčených na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Times New Roman" panose="02020603050405020304" pitchFamily="18" charset="0"/>
              <a:buChar char="-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bsolutní a relativní dostupná kapacita lůžkového fondu, zejména lůžek JIP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Times New Roman" panose="02020603050405020304" pitchFamily="18" charset="0"/>
              <a:buChar char="-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edikovaný počet nově hospitalizovaných celkem s výhledem na 14 dní a měsíc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Times New Roman" panose="02020603050405020304" pitchFamily="18" charset="0"/>
              <a:buChar char="-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edikovaný počet nově hospitalizovaných na JIP s výhledem na 14 dní a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měsíc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Times New Roman" panose="02020603050405020304" pitchFamily="18" charset="0"/>
              <a:buChar char="-"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čty zemřelých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(14denní nebo 7denní počet / 100 tis. obyv.)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Times New Roman" panose="02020603050405020304" pitchFamily="18" charset="0"/>
              <a:buChar char="-"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čet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entifikovaných ohnisek nákazy a jejich rizikovost, velikost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 typ (původ)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Pts val="1200"/>
              <a:buFont typeface="Times New Roman" panose="02020603050405020304" pitchFamily="18" charset="0"/>
              <a:buChar char="-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čet pozitivně potvrzených případů dle vybraných profesních kategorií a dle oborů, druhu činnosti (sociální prostředí šíření nákazy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101599" y="1361106"/>
            <a:ext cx="26416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ejména ……</a:t>
            </a:r>
            <a:endParaRPr kumimoji="0" lang="cs-CZ" sz="2400" b="1" i="1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6423888" y="6396335"/>
            <a:ext cx="56388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… a další parametry (testy, očkování, ….)</a:t>
            </a:r>
            <a:endParaRPr kumimoji="0" lang="cs-CZ" sz="2400" b="1" i="1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ovéPole 3"/>
          <p:cNvSpPr txBox="1"/>
          <p:nvPr/>
        </p:nvSpPr>
        <p:spPr>
          <a:xfrm>
            <a:off x="8790317" y="3763476"/>
            <a:ext cx="3079630" cy="1138773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3400" dirty="0" smtClean="0">
                <a:solidFill>
                  <a:schemeClr val="bg1"/>
                </a:solidFill>
              </a:rPr>
              <a:t>Hodnocení musí být komplexní </a:t>
            </a:r>
            <a:endParaRPr lang="cs-CZ" sz="3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534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heme/theme1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6.xml><?xml version="1.0" encoding="utf-8"?>
<a:theme xmlns:a="http://schemas.openxmlformats.org/drawingml/2006/main" name="4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7.xml><?xml version="1.0" encoding="utf-8"?>
<a:theme xmlns:a="http://schemas.openxmlformats.org/drawingml/2006/main" name="1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8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77</TotalTime>
  <Words>3560</Words>
  <Application>Microsoft Office PowerPoint</Application>
  <PresentationFormat>Širokoúhlá obrazovka</PresentationFormat>
  <Paragraphs>657</Paragraphs>
  <Slides>34</Slides>
  <Notes>5</Notes>
  <HiddenSlides>0</HiddenSlides>
  <MMClips>0</MMClips>
  <ScaleCrop>false</ScaleCrop>
  <HeadingPairs>
    <vt:vector size="6" baseType="variant">
      <vt:variant>
        <vt:lpstr>Použitá písma</vt:lpstr>
      </vt:variant>
      <vt:variant>
        <vt:i4>6</vt:i4>
      </vt:variant>
      <vt:variant>
        <vt:lpstr>Motiv</vt:lpstr>
      </vt:variant>
      <vt:variant>
        <vt:i4>8</vt:i4>
      </vt:variant>
      <vt:variant>
        <vt:lpstr>Nadpisy snímků</vt:lpstr>
      </vt:variant>
      <vt:variant>
        <vt:i4>34</vt:i4>
      </vt:variant>
    </vt:vector>
  </HeadingPairs>
  <TitlesOfParts>
    <vt:vector size="48" baseType="lpstr">
      <vt:lpstr>Calibri Light</vt:lpstr>
      <vt:lpstr>Arial</vt:lpstr>
      <vt:lpstr>Calibri</vt:lpstr>
      <vt:lpstr>Wingdings</vt:lpstr>
      <vt:lpstr>Arial (Základní text)</vt:lpstr>
      <vt:lpstr>Times New Roman</vt:lpstr>
      <vt:lpstr>1_Motiv Office</vt:lpstr>
      <vt:lpstr>2_Motiv Office</vt:lpstr>
      <vt:lpstr>3_Motiv Office</vt:lpstr>
      <vt:lpstr>7_Motiv Office</vt:lpstr>
      <vt:lpstr>8_Motiv Office</vt:lpstr>
      <vt:lpstr>4_Motiv Office</vt:lpstr>
      <vt:lpstr>12_Motiv Office</vt:lpstr>
      <vt:lpstr>Motiv Office</vt:lpstr>
      <vt:lpstr>Datová a informační základna  pro management pandemie COVID-19</vt:lpstr>
      <vt:lpstr>Prezentace aplikace PowerPoint</vt:lpstr>
      <vt:lpstr>Počty nově diagnostikovaných pacientů: týdenní vývoj v ČR</vt:lpstr>
      <vt:lpstr>Počty COVID-19 pozitivních v ČR na 100 000 v populaci</vt:lpstr>
      <vt:lpstr>Prezentace aplikace PowerPoint</vt:lpstr>
      <vt:lpstr>Podíl pozitivních testů: diagnostické a klinické indikace </vt:lpstr>
      <vt:lpstr>Podíl pozitivních testů: epidemiologické indikace</vt:lpstr>
      <vt:lpstr>Datová a informační základna  pro management pandemie COVID-19</vt:lpstr>
      <vt:lpstr>Prezentace aplikace PowerPoint</vt:lpstr>
      <vt:lpstr>Relativní pozitivita testů s diagnostickou/epidemiologickou indikací za 7 dní:  srovnání krajů k 26.4.</vt:lpstr>
      <vt:lpstr>Nové případy za 7 dní na 100 000 obyvatel: 20 okresů s nejvyššími hodnotami k 26.4.</vt:lpstr>
      <vt:lpstr>Další ukazatele pro 20 okresů s nejvyšším 7denním počtem případů – hodnoty k 26.4.</vt:lpstr>
      <vt:lpstr>Přehled okresů s poteniálně rizikovými epidemickými hodnotami</vt:lpstr>
      <vt:lpstr>Datová a informační základna  pro management pandemie COVID-19</vt:lpstr>
      <vt:lpstr>Predikce ve čtyřech scénářích</vt:lpstr>
      <vt:lpstr>Rekalibrace prediktivního modelu pro nové scénář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Prezentace aplikace PowerPoint</vt:lpstr>
      <vt:lpstr>Scénáře dlouhodobých simulací z 5.3. 2021</vt:lpstr>
      <vt:lpstr>Scénáře dlouhodobých simulací z 5.3. 2021</vt:lpstr>
      <vt:lpstr>Prezentace aplikace PowerPoint</vt:lpstr>
      <vt:lpstr>Predikovaný počet aktuálně hospitalizovaných</vt:lpstr>
      <vt:lpstr>Prezentace aplikace PowerPoint</vt:lpstr>
      <vt:lpstr>Predikovaný počet aktuálně hospitalizovaných na JIP</vt:lpstr>
      <vt:lpstr>Predikovaný počet nových hospitalizačních případů</vt:lpstr>
      <vt:lpstr>Datová a informační základna  pro management pandemie COVID-19</vt:lpstr>
      <vt:lpstr>Struktura popualce z hlediska vnímavosti k infekci </vt:lpstr>
      <vt:lpstr>Struktura popualce z hlediska vnímavosti k infekci </vt:lpstr>
      <vt:lpstr> DĚKUJI ZA POZORNO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Ladislav Dušek</cp:lastModifiedBy>
  <cp:revision>664</cp:revision>
  <dcterms:created xsi:type="dcterms:W3CDTF">2020-11-11T17:36:28Z</dcterms:created>
  <dcterms:modified xsi:type="dcterms:W3CDTF">2021-04-28T11:24:44Z</dcterms:modified>
</cp:coreProperties>
</file>